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ink/ink1.xml" ContentType="application/inkml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tags/tag28.xml" ContentType="application/vnd.openxmlformats-officedocument.presentationml.tags+xml"/>
  <Override PartName="/ppt/notesSlides/notesSlide13.xml" ContentType="application/vnd.openxmlformats-officedocument.presentationml.notesSlide+xml"/>
  <Override PartName="/ppt/tags/tag29.xml" ContentType="application/vnd.openxmlformats-officedocument.presentationml.tags+xml"/>
  <Override PartName="/ppt/notesSlides/notesSlide1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2"/>
  </p:notesMasterIdLst>
  <p:handoutMasterIdLst>
    <p:handoutMasterId r:id="rId33"/>
  </p:handoutMasterIdLst>
  <p:sldIdLst>
    <p:sldId id="259" r:id="rId5"/>
    <p:sldId id="2147482965" r:id="rId6"/>
    <p:sldId id="2147483094" r:id="rId7"/>
    <p:sldId id="2147483079" r:id="rId8"/>
    <p:sldId id="2147483080" r:id="rId9"/>
    <p:sldId id="2147482904" r:id="rId10"/>
    <p:sldId id="2147483100" r:id="rId11"/>
    <p:sldId id="2147483095" r:id="rId12"/>
    <p:sldId id="2147483101" r:id="rId13"/>
    <p:sldId id="2147483081" r:id="rId14"/>
    <p:sldId id="2147483096" r:id="rId15"/>
    <p:sldId id="2147482983" r:id="rId16"/>
    <p:sldId id="2147483070" r:id="rId17"/>
    <p:sldId id="2147483102" r:id="rId18"/>
    <p:sldId id="2147483073" r:id="rId19"/>
    <p:sldId id="2147483083" r:id="rId20"/>
    <p:sldId id="2147483097" r:id="rId21"/>
    <p:sldId id="2147483084" r:id="rId22"/>
    <p:sldId id="2147483087" r:id="rId23"/>
    <p:sldId id="2147482987" r:id="rId24"/>
    <p:sldId id="2147483085" r:id="rId25"/>
    <p:sldId id="2147482986" r:id="rId26"/>
    <p:sldId id="2147483098" r:id="rId27"/>
    <p:sldId id="2147483090" r:id="rId28"/>
    <p:sldId id="2147483091" r:id="rId29"/>
    <p:sldId id="2147483092" r:id="rId30"/>
    <p:sldId id="311" r:id="rId31"/>
  </p:sldIdLst>
  <p:sldSz cx="12192000" cy="6858000"/>
  <p:notesSz cx="6797675" cy="9872663"/>
  <p:custDataLst>
    <p:tags r:id="rId34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59"/>
            <p14:sldId id="2147482965"/>
            <p14:sldId id="2147483094"/>
            <p14:sldId id="2147483079"/>
            <p14:sldId id="2147483080"/>
            <p14:sldId id="2147482904"/>
            <p14:sldId id="2147483100"/>
            <p14:sldId id="2147483095"/>
            <p14:sldId id="2147483101"/>
            <p14:sldId id="2147483081"/>
            <p14:sldId id="2147483096"/>
            <p14:sldId id="2147482983"/>
            <p14:sldId id="2147483070"/>
            <p14:sldId id="2147483102"/>
            <p14:sldId id="2147483073"/>
            <p14:sldId id="2147483083"/>
            <p14:sldId id="2147483097"/>
            <p14:sldId id="2147483084"/>
            <p14:sldId id="2147483087"/>
            <p14:sldId id="2147482987"/>
            <p14:sldId id="2147483085"/>
            <p14:sldId id="2147482986"/>
            <p14:sldId id="2147483098"/>
            <p14:sldId id="2147483090"/>
            <p14:sldId id="2147483091"/>
            <p14:sldId id="2147483092"/>
            <p14:sldId id="31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56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201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69C6DC8-D2BD-AF91-A155-D0F8AE0BC728}" name="Claes Jensen" initials="CJ" userId="S::cljensen@Nilfisk.com::4b63c7b0-aedc-4164-ae98-dea0b535c4a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C0A8B"/>
    <a:srgbClr val="B3BBC5"/>
    <a:srgbClr val="7A0000"/>
    <a:srgbClr val="FFFFAF"/>
    <a:srgbClr val="8997A4"/>
    <a:srgbClr val="7C878E"/>
    <a:srgbClr val="979797"/>
    <a:srgbClr val="4B4F54"/>
    <a:srgbClr val="606A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492" autoAdjust="0"/>
  </p:normalViewPr>
  <p:slideViewPr>
    <p:cSldViewPr snapToGrid="0">
      <p:cViewPr varScale="1">
        <p:scale>
          <a:sx n="82" d="100"/>
          <a:sy n="82" d="100"/>
        </p:scale>
        <p:origin x="691" y="288"/>
      </p:cViewPr>
      <p:guideLst>
        <p:guide orient="horz" pos="2856"/>
        <p:guide pos="3840"/>
        <p:guide orient="horz" pos="201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gnacio Camacho" userId="S::icgil@nilfisk.com::794a7725-1436-4eb8-bb7d-558c05c37dc7" providerId="AD" clId="Web-{B60D1E91-B270-851A-F583-BE1884BAEC7C}"/>
    <pc:docChg chg="modSld">
      <pc:chgData name="Ignacio Camacho" userId="S::icgil@nilfisk.com::794a7725-1436-4eb8-bb7d-558c05c37dc7" providerId="AD" clId="Web-{B60D1E91-B270-851A-F583-BE1884BAEC7C}" dt="2026-01-07T09:22:42.221" v="7"/>
      <pc:docMkLst>
        <pc:docMk/>
      </pc:docMkLst>
      <pc:sldChg chg="modSp">
        <pc:chgData name="Ignacio Camacho" userId="S::icgil@nilfisk.com::794a7725-1436-4eb8-bb7d-558c05c37dc7" providerId="AD" clId="Web-{B60D1E91-B270-851A-F583-BE1884BAEC7C}" dt="2026-01-07T09:22:42.221" v="7"/>
        <pc:sldMkLst>
          <pc:docMk/>
          <pc:sldMk cId="1944381658" sldId="2147483083"/>
        </pc:sldMkLst>
        <pc:graphicFrameChg chg="mod modGraphic">
          <ac:chgData name="Ignacio Camacho" userId="S::icgil@nilfisk.com::794a7725-1436-4eb8-bb7d-558c05c37dc7" providerId="AD" clId="Web-{B60D1E91-B270-851A-F583-BE1884BAEC7C}" dt="2026-01-07T09:22:42.221" v="7"/>
          <ac:graphicFrameMkLst>
            <pc:docMk/>
            <pc:sldMk cId="1944381658" sldId="2147483083"/>
            <ac:graphicFrameMk id="5" creationId="{F8AA7EC4-B40E-37C3-366E-DFE4E2D507A6}"/>
          </ac:graphicFrameMkLst>
        </pc:graphicFrameChg>
      </pc:sldChg>
    </pc:docChg>
  </pc:docChgLst>
  <pc:docChgLst>
    <pc:chgData name="Adrián Bora" userId="87776703-78bb-46fb-aaa4-c405ef74930d" providerId="ADAL" clId="{77E85A37-FF2D-489C-8FF4-40A2BE47BD2A}"/>
    <pc:docChg chg="undo custSel addSld delSld modSld modSection">
      <pc:chgData name="Adrián Bora" userId="87776703-78bb-46fb-aaa4-c405ef74930d" providerId="ADAL" clId="{77E85A37-FF2D-489C-8FF4-40A2BE47BD2A}" dt="2026-01-12T10:30:20.599" v="102" actId="478"/>
      <pc:docMkLst>
        <pc:docMk/>
      </pc:docMkLst>
      <pc:sldChg chg="modSp mod">
        <pc:chgData name="Adrián Bora" userId="87776703-78bb-46fb-aaa4-c405ef74930d" providerId="ADAL" clId="{77E85A37-FF2D-489C-8FF4-40A2BE47BD2A}" dt="2026-01-12T10:25:16.304" v="10" actId="20577"/>
        <pc:sldMkLst>
          <pc:docMk/>
          <pc:sldMk cId="1996270453" sldId="259"/>
        </pc:sldMkLst>
        <pc:spChg chg="mod">
          <ac:chgData name="Adrián Bora" userId="87776703-78bb-46fb-aaa4-c405ef74930d" providerId="ADAL" clId="{77E85A37-FF2D-489C-8FF4-40A2BE47BD2A}" dt="2026-01-12T10:25:16.304" v="10" actId="20577"/>
          <ac:spMkLst>
            <pc:docMk/>
            <pc:sldMk cId="1996270453" sldId="259"/>
            <ac:spMk id="8" creationId="{AC05CF4E-24FF-57DA-3526-13554FC3F922}"/>
          </ac:spMkLst>
        </pc:spChg>
      </pc:sldChg>
      <pc:sldChg chg="del">
        <pc:chgData name="Adrián Bora" userId="87776703-78bb-46fb-aaa4-c405ef74930d" providerId="ADAL" clId="{77E85A37-FF2D-489C-8FF4-40A2BE47BD2A}" dt="2026-01-12T10:28:07.203" v="35" actId="47"/>
        <pc:sldMkLst>
          <pc:docMk/>
          <pc:sldMk cId="4288761806" sldId="2147474131"/>
        </pc:sldMkLst>
      </pc:sldChg>
      <pc:sldChg chg="addSp delSp modSp mod">
        <pc:chgData name="Adrián Bora" userId="87776703-78bb-46fb-aaa4-c405ef74930d" providerId="ADAL" clId="{77E85A37-FF2D-489C-8FF4-40A2BE47BD2A}" dt="2026-01-12T10:30:20.599" v="102" actId="478"/>
        <pc:sldMkLst>
          <pc:docMk/>
          <pc:sldMk cId="3896620937" sldId="2147482965"/>
        </pc:sldMkLst>
        <pc:spChg chg="add del mod">
          <ac:chgData name="Adrián Bora" userId="87776703-78bb-46fb-aaa4-c405ef74930d" providerId="ADAL" clId="{77E85A37-FF2D-489C-8FF4-40A2BE47BD2A}" dt="2026-01-12T10:30:18.024" v="100" actId="478"/>
          <ac:spMkLst>
            <pc:docMk/>
            <pc:sldMk cId="3896620937" sldId="2147482965"/>
            <ac:spMk id="4" creationId="{4A5BB71B-FB22-1D0F-A18C-3CA186868AC3}"/>
          </ac:spMkLst>
        </pc:spChg>
        <pc:spChg chg="add del mod">
          <ac:chgData name="Adrián Bora" userId="87776703-78bb-46fb-aaa4-c405ef74930d" providerId="ADAL" clId="{77E85A37-FF2D-489C-8FF4-40A2BE47BD2A}" dt="2026-01-12T10:30:20.599" v="102" actId="478"/>
          <ac:spMkLst>
            <pc:docMk/>
            <pc:sldMk cId="3896620937" sldId="2147482965"/>
            <ac:spMk id="6" creationId="{2C3606A8-6F41-FA9C-0301-10D624841492}"/>
          </ac:spMkLst>
        </pc:spChg>
        <pc:spChg chg="mod">
          <ac:chgData name="Adrián Bora" userId="87776703-78bb-46fb-aaa4-c405ef74930d" providerId="ADAL" clId="{77E85A37-FF2D-489C-8FF4-40A2BE47BD2A}" dt="2026-01-12T10:30:13.430" v="98" actId="20577"/>
          <ac:spMkLst>
            <pc:docMk/>
            <pc:sldMk cId="3896620937" sldId="2147482965"/>
            <ac:spMk id="51" creationId="{0C36A846-4D2C-DF88-9D38-D65791531DF6}"/>
          </ac:spMkLst>
        </pc:spChg>
        <pc:spChg chg="del">
          <ac:chgData name="Adrián Bora" userId="87776703-78bb-46fb-aaa4-c405ef74930d" providerId="ADAL" clId="{77E85A37-FF2D-489C-8FF4-40A2BE47BD2A}" dt="2026-01-12T10:30:16.096" v="99" actId="478"/>
          <ac:spMkLst>
            <pc:docMk/>
            <pc:sldMk cId="3896620937" sldId="2147482965"/>
            <ac:spMk id="52" creationId="{4924FDCD-1239-EF70-2837-58AF1BEA7325}"/>
          </ac:spMkLst>
        </pc:spChg>
        <pc:spChg chg="del">
          <ac:chgData name="Adrián Bora" userId="87776703-78bb-46fb-aaa4-c405ef74930d" providerId="ADAL" clId="{77E85A37-FF2D-489C-8FF4-40A2BE47BD2A}" dt="2026-01-12T10:30:19.360" v="101" actId="478"/>
          <ac:spMkLst>
            <pc:docMk/>
            <pc:sldMk cId="3896620937" sldId="2147482965"/>
            <ac:spMk id="58" creationId="{44AF0CF0-3EA7-ED7D-7A02-A232ED16E5EC}"/>
          </ac:spMkLst>
        </pc:spChg>
      </pc:sldChg>
      <pc:sldChg chg="modSp mod">
        <pc:chgData name="Adrián Bora" userId="87776703-78bb-46fb-aaa4-c405ef74930d" providerId="ADAL" clId="{77E85A37-FF2D-489C-8FF4-40A2BE47BD2A}" dt="2026-01-12T10:26:37.482" v="31" actId="20577"/>
        <pc:sldMkLst>
          <pc:docMk/>
          <pc:sldMk cId="984789493" sldId="2147482983"/>
        </pc:sldMkLst>
        <pc:spChg chg="mod">
          <ac:chgData name="Adrián Bora" userId="87776703-78bb-46fb-aaa4-c405ef74930d" providerId="ADAL" clId="{77E85A37-FF2D-489C-8FF4-40A2BE47BD2A}" dt="2026-01-12T10:26:37.482" v="31" actId="20577"/>
          <ac:spMkLst>
            <pc:docMk/>
            <pc:sldMk cId="984789493" sldId="2147482983"/>
            <ac:spMk id="7" creationId="{A57E0E44-CF33-E4F4-2467-7C38D9813536}"/>
          </ac:spMkLst>
        </pc:spChg>
      </pc:sldChg>
      <pc:sldChg chg="del">
        <pc:chgData name="Adrián Bora" userId="87776703-78bb-46fb-aaa4-c405ef74930d" providerId="ADAL" clId="{77E85A37-FF2D-489C-8FF4-40A2BE47BD2A}" dt="2026-01-12T10:28:08.960" v="36" actId="47"/>
        <pc:sldMkLst>
          <pc:docMk/>
          <pc:sldMk cId="290514172" sldId="2147483016"/>
        </pc:sldMkLst>
      </pc:sldChg>
      <pc:sldChg chg="del">
        <pc:chgData name="Adrián Bora" userId="87776703-78bb-46fb-aaa4-c405ef74930d" providerId="ADAL" clId="{77E85A37-FF2D-489C-8FF4-40A2BE47BD2A}" dt="2026-01-12T10:28:10.188" v="37" actId="47"/>
        <pc:sldMkLst>
          <pc:docMk/>
          <pc:sldMk cId="3644020410" sldId="2147483020"/>
        </pc:sldMkLst>
      </pc:sldChg>
      <pc:sldChg chg="del">
        <pc:chgData name="Adrián Bora" userId="87776703-78bb-46fb-aaa4-c405ef74930d" providerId="ADAL" clId="{77E85A37-FF2D-489C-8FF4-40A2BE47BD2A}" dt="2026-01-12T10:28:11.449" v="38" actId="47"/>
        <pc:sldMkLst>
          <pc:docMk/>
          <pc:sldMk cId="2505294199" sldId="2147483021"/>
        </pc:sldMkLst>
      </pc:sldChg>
      <pc:sldChg chg="del">
        <pc:chgData name="Adrián Bora" userId="87776703-78bb-46fb-aaa4-c405ef74930d" providerId="ADAL" clId="{77E85A37-FF2D-489C-8FF4-40A2BE47BD2A}" dt="2026-01-12T10:28:12.302" v="39" actId="47"/>
        <pc:sldMkLst>
          <pc:docMk/>
          <pc:sldMk cId="2606735334" sldId="2147483022"/>
        </pc:sldMkLst>
      </pc:sldChg>
      <pc:sldChg chg="modSp mod">
        <pc:chgData name="Adrián Bora" userId="87776703-78bb-46fb-aaa4-c405ef74930d" providerId="ADAL" clId="{77E85A37-FF2D-489C-8FF4-40A2BE47BD2A}" dt="2026-01-12T10:25:38.181" v="18" actId="20577"/>
        <pc:sldMkLst>
          <pc:docMk/>
          <pc:sldMk cId="3759059595" sldId="2147483079"/>
        </pc:sldMkLst>
        <pc:spChg chg="mod">
          <ac:chgData name="Adrián Bora" userId="87776703-78bb-46fb-aaa4-c405ef74930d" providerId="ADAL" clId="{77E85A37-FF2D-489C-8FF4-40A2BE47BD2A}" dt="2026-01-12T10:25:38.181" v="18" actId="20577"/>
          <ac:spMkLst>
            <pc:docMk/>
            <pc:sldMk cId="3759059595" sldId="2147483079"/>
            <ac:spMk id="6" creationId="{95001E5C-677E-A505-7428-67374FDDE6EB}"/>
          </ac:spMkLst>
        </pc:spChg>
      </pc:sldChg>
      <pc:sldChg chg="modSp mod">
        <pc:chgData name="Adrián Bora" userId="87776703-78bb-46fb-aaa4-c405ef74930d" providerId="ADAL" clId="{77E85A37-FF2D-489C-8FF4-40A2BE47BD2A}" dt="2026-01-12T10:27:25.021" v="34" actId="1076"/>
        <pc:sldMkLst>
          <pc:docMk/>
          <pc:sldMk cId="1944381658" sldId="2147483083"/>
        </pc:sldMkLst>
        <pc:graphicFrameChg chg="mod">
          <ac:chgData name="Adrián Bora" userId="87776703-78bb-46fb-aaa4-c405ef74930d" providerId="ADAL" clId="{77E85A37-FF2D-489C-8FF4-40A2BE47BD2A}" dt="2026-01-12T10:27:25.021" v="34" actId="1076"/>
          <ac:graphicFrameMkLst>
            <pc:docMk/>
            <pc:sldMk cId="1944381658" sldId="2147483083"/>
            <ac:graphicFrameMk id="5" creationId="{F8AA7EC4-B40E-37C3-366E-DFE4E2D507A6}"/>
          </ac:graphicFrameMkLst>
        </pc:graphicFrameChg>
      </pc:sldChg>
      <pc:sldChg chg="modSp mod">
        <pc:chgData name="Adrián Bora" userId="87776703-78bb-46fb-aaa4-c405ef74930d" providerId="ADAL" clId="{77E85A37-FF2D-489C-8FF4-40A2BE47BD2A}" dt="2026-01-12T10:29:11.179" v="53" actId="20577"/>
        <pc:sldMkLst>
          <pc:docMk/>
          <pc:sldMk cId="3443677803" sldId="2147483090"/>
        </pc:sldMkLst>
        <pc:spChg chg="mod">
          <ac:chgData name="Adrián Bora" userId="87776703-78bb-46fb-aaa4-c405ef74930d" providerId="ADAL" clId="{77E85A37-FF2D-489C-8FF4-40A2BE47BD2A}" dt="2026-01-12T10:29:11.179" v="53" actId="20577"/>
          <ac:spMkLst>
            <pc:docMk/>
            <pc:sldMk cId="3443677803" sldId="2147483090"/>
            <ac:spMk id="12" creationId="{81C68196-A052-3C6D-2B71-4B15BD4F5A70}"/>
          </ac:spMkLst>
        </pc:spChg>
      </pc:sldChg>
      <pc:sldChg chg="modSp mod">
        <pc:chgData name="Adrián Bora" userId="87776703-78bb-46fb-aaa4-c405ef74930d" providerId="ADAL" clId="{77E85A37-FF2D-489C-8FF4-40A2BE47BD2A}" dt="2026-01-12T10:29:14.463" v="55" actId="20577"/>
        <pc:sldMkLst>
          <pc:docMk/>
          <pc:sldMk cId="3181647656" sldId="2147483091"/>
        </pc:sldMkLst>
        <pc:spChg chg="mod">
          <ac:chgData name="Adrián Bora" userId="87776703-78bb-46fb-aaa4-c405ef74930d" providerId="ADAL" clId="{77E85A37-FF2D-489C-8FF4-40A2BE47BD2A}" dt="2026-01-12T10:29:14.463" v="55" actId="20577"/>
          <ac:spMkLst>
            <pc:docMk/>
            <pc:sldMk cId="3181647656" sldId="2147483091"/>
            <ac:spMk id="18" creationId="{416633A5-6408-E355-2A34-0B5CC43A407D}"/>
          </ac:spMkLst>
        </pc:spChg>
      </pc:sldChg>
      <pc:sldChg chg="modSp mod">
        <pc:chgData name="Adrián Bora" userId="87776703-78bb-46fb-aaa4-c405ef74930d" providerId="ADAL" clId="{77E85A37-FF2D-489C-8FF4-40A2BE47BD2A}" dt="2026-01-12T10:29:17.534" v="57" actId="20577"/>
        <pc:sldMkLst>
          <pc:docMk/>
          <pc:sldMk cId="934182162" sldId="2147483092"/>
        </pc:sldMkLst>
        <pc:spChg chg="mod">
          <ac:chgData name="Adrián Bora" userId="87776703-78bb-46fb-aaa4-c405ef74930d" providerId="ADAL" clId="{77E85A37-FF2D-489C-8FF4-40A2BE47BD2A}" dt="2026-01-12T10:29:17.534" v="57" actId="20577"/>
          <ac:spMkLst>
            <pc:docMk/>
            <pc:sldMk cId="934182162" sldId="2147483092"/>
            <ac:spMk id="11" creationId="{66713960-CAF3-3B29-8254-19978BE933A3}"/>
          </ac:spMkLst>
        </pc:spChg>
      </pc:sldChg>
      <pc:sldChg chg="addSp delSp modSp mod">
        <pc:chgData name="Adrián Bora" userId="87776703-78bb-46fb-aaa4-c405ef74930d" providerId="ADAL" clId="{77E85A37-FF2D-489C-8FF4-40A2BE47BD2A}" dt="2026-01-12T10:30:08.575" v="93" actId="478"/>
        <pc:sldMkLst>
          <pc:docMk/>
          <pc:sldMk cId="3818941509" sldId="2147483094"/>
        </pc:sldMkLst>
        <pc:spChg chg="add del mod">
          <ac:chgData name="Adrián Bora" userId="87776703-78bb-46fb-aaa4-c405ef74930d" providerId="ADAL" clId="{77E85A37-FF2D-489C-8FF4-40A2BE47BD2A}" dt="2026-01-12T10:30:05.670" v="91" actId="478"/>
          <ac:spMkLst>
            <pc:docMk/>
            <pc:sldMk cId="3818941509" sldId="2147483094"/>
            <ac:spMk id="4" creationId="{F9E6CE4B-042E-6E19-13A6-A78E518E2B41}"/>
          </ac:spMkLst>
        </pc:spChg>
        <pc:spChg chg="add del mod">
          <ac:chgData name="Adrián Bora" userId="87776703-78bb-46fb-aaa4-c405ef74930d" providerId="ADAL" clId="{77E85A37-FF2D-489C-8FF4-40A2BE47BD2A}" dt="2026-01-12T10:30:08.575" v="93" actId="478"/>
          <ac:spMkLst>
            <pc:docMk/>
            <pc:sldMk cId="3818941509" sldId="2147483094"/>
            <ac:spMk id="6" creationId="{2DD48A23-3556-797A-4A56-573EB691A1A5}"/>
          </ac:spMkLst>
        </pc:spChg>
        <pc:spChg chg="mod">
          <ac:chgData name="Adrián Bora" userId="87776703-78bb-46fb-aaa4-c405ef74930d" providerId="ADAL" clId="{77E85A37-FF2D-489C-8FF4-40A2BE47BD2A}" dt="2026-01-12T10:30:00.466" v="89" actId="20577"/>
          <ac:spMkLst>
            <pc:docMk/>
            <pc:sldMk cId="3818941509" sldId="2147483094"/>
            <ac:spMk id="51" creationId="{6A09F31F-3F75-C502-D12E-AA8061FE17F7}"/>
          </ac:spMkLst>
        </pc:spChg>
        <pc:spChg chg="del">
          <ac:chgData name="Adrián Bora" userId="87776703-78bb-46fb-aaa4-c405ef74930d" providerId="ADAL" clId="{77E85A37-FF2D-489C-8FF4-40A2BE47BD2A}" dt="2026-01-12T10:30:06.867" v="92" actId="478"/>
          <ac:spMkLst>
            <pc:docMk/>
            <pc:sldMk cId="3818941509" sldId="2147483094"/>
            <ac:spMk id="52" creationId="{B64A1015-5B9F-98D2-2EF6-438036FFAC2D}"/>
          </ac:spMkLst>
        </pc:spChg>
        <pc:spChg chg="del">
          <ac:chgData name="Adrián Bora" userId="87776703-78bb-46fb-aaa4-c405ef74930d" providerId="ADAL" clId="{77E85A37-FF2D-489C-8FF4-40A2BE47BD2A}" dt="2026-01-12T10:30:03.409" v="90" actId="478"/>
          <ac:spMkLst>
            <pc:docMk/>
            <pc:sldMk cId="3818941509" sldId="2147483094"/>
            <ac:spMk id="58" creationId="{6713760A-F715-E83A-5871-9BD9EB8971E8}"/>
          </ac:spMkLst>
        </pc:spChg>
      </pc:sldChg>
      <pc:sldChg chg="addSp delSp modSp mod">
        <pc:chgData name="Adrián Bora" userId="87776703-78bb-46fb-aaa4-c405ef74930d" providerId="ADAL" clId="{77E85A37-FF2D-489C-8FF4-40A2BE47BD2A}" dt="2026-01-12T10:29:55.931" v="84" actId="478"/>
        <pc:sldMkLst>
          <pc:docMk/>
          <pc:sldMk cId="2127302646" sldId="2147483095"/>
        </pc:sldMkLst>
        <pc:spChg chg="add del mod">
          <ac:chgData name="Adrián Bora" userId="87776703-78bb-46fb-aaa4-c405ef74930d" providerId="ADAL" clId="{77E85A37-FF2D-489C-8FF4-40A2BE47BD2A}" dt="2026-01-12T10:29:53.394" v="82" actId="478"/>
          <ac:spMkLst>
            <pc:docMk/>
            <pc:sldMk cId="2127302646" sldId="2147483095"/>
            <ac:spMk id="4" creationId="{7873538D-57C3-3873-1FAC-4AC928FE3647}"/>
          </ac:spMkLst>
        </pc:spChg>
        <pc:spChg chg="add del mod">
          <ac:chgData name="Adrián Bora" userId="87776703-78bb-46fb-aaa4-c405ef74930d" providerId="ADAL" clId="{77E85A37-FF2D-489C-8FF4-40A2BE47BD2A}" dt="2026-01-12T10:29:55.931" v="84" actId="478"/>
          <ac:spMkLst>
            <pc:docMk/>
            <pc:sldMk cId="2127302646" sldId="2147483095"/>
            <ac:spMk id="6" creationId="{2087B095-5E72-B1C1-30E6-3879E7DA14F9}"/>
          </ac:spMkLst>
        </pc:spChg>
        <pc:spChg chg="mod">
          <ac:chgData name="Adrián Bora" userId="87776703-78bb-46fb-aaa4-c405ef74930d" providerId="ADAL" clId="{77E85A37-FF2D-489C-8FF4-40A2BE47BD2A}" dt="2026-01-12T10:29:50.298" v="80" actId="20577"/>
          <ac:spMkLst>
            <pc:docMk/>
            <pc:sldMk cId="2127302646" sldId="2147483095"/>
            <ac:spMk id="51" creationId="{12A1446B-80A8-D4D1-173B-F561EBF856C1}"/>
          </ac:spMkLst>
        </pc:spChg>
        <pc:spChg chg="del">
          <ac:chgData name="Adrián Bora" userId="87776703-78bb-46fb-aaa4-c405ef74930d" providerId="ADAL" clId="{77E85A37-FF2D-489C-8FF4-40A2BE47BD2A}" dt="2026-01-12T10:29:54.607" v="83" actId="478"/>
          <ac:spMkLst>
            <pc:docMk/>
            <pc:sldMk cId="2127302646" sldId="2147483095"/>
            <ac:spMk id="52" creationId="{FE0B9ED5-3507-C920-1AF5-1D7097A7121B}"/>
          </ac:spMkLst>
        </pc:spChg>
        <pc:spChg chg="del">
          <ac:chgData name="Adrián Bora" userId="87776703-78bb-46fb-aaa4-c405ef74930d" providerId="ADAL" clId="{77E85A37-FF2D-489C-8FF4-40A2BE47BD2A}" dt="2026-01-12T10:29:52.830" v="81" actId="478"/>
          <ac:spMkLst>
            <pc:docMk/>
            <pc:sldMk cId="2127302646" sldId="2147483095"/>
            <ac:spMk id="58" creationId="{DA625C6E-C027-6112-522E-526149846334}"/>
          </ac:spMkLst>
        </pc:spChg>
      </pc:sldChg>
      <pc:sldChg chg="addSp delSp modSp mod">
        <pc:chgData name="Adrián Bora" userId="87776703-78bb-46fb-aaa4-c405ef74930d" providerId="ADAL" clId="{77E85A37-FF2D-489C-8FF4-40A2BE47BD2A}" dt="2026-01-12T10:29:44.545" v="75" actId="478"/>
        <pc:sldMkLst>
          <pc:docMk/>
          <pc:sldMk cId="2909049360" sldId="2147483096"/>
        </pc:sldMkLst>
        <pc:spChg chg="add del mod">
          <ac:chgData name="Adrián Bora" userId="87776703-78bb-46fb-aaa4-c405ef74930d" providerId="ADAL" clId="{77E85A37-FF2D-489C-8FF4-40A2BE47BD2A}" dt="2026-01-12T10:29:42.087" v="73" actId="478"/>
          <ac:spMkLst>
            <pc:docMk/>
            <pc:sldMk cId="2909049360" sldId="2147483096"/>
            <ac:spMk id="5" creationId="{0A85EB7A-A93E-6D32-FE66-5A84CB8D1BE7}"/>
          </ac:spMkLst>
        </pc:spChg>
        <pc:spChg chg="add del mod">
          <ac:chgData name="Adrián Bora" userId="87776703-78bb-46fb-aaa4-c405ef74930d" providerId="ADAL" clId="{77E85A37-FF2D-489C-8FF4-40A2BE47BD2A}" dt="2026-01-12T10:29:44.545" v="75" actId="478"/>
          <ac:spMkLst>
            <pc:docMk/>
            <pc:sldMk cId="2909049360" sldId="2147483096"/>
            <ac:spMk id="7" creationId="{980836B1-0794-3488-7BD8-DC56024DEC87}"/>
          </ac:spMkLst>
        </pc:spChg>
        <pc:spChg chg="mod">
          <ac:chgData name="Adrián Bora" userId="87776703-78bb-46fb-aaa4-c405ef74930d" providerId="ADAL" clId="{77E85A37-FF2D-489C-8FF4-40A2BE47BD2A}" dt="2026-01-12T10:26:30.562" v="19" actId="20577"/>
          <ac:spMkLst>
            <pc:docMk/>
            <pc:sldMk cId="2909049360" sldId="2147483096"/>
            <ac:spMk id="49" creationId="{CDBC5692-8B3D-7B06-0673-F618AE7AC995}"/>
          </ac:spMkLst>
        </pc:spChg>
        <pc:spChg chg="mod">
          <ac:chgData name="Adrián Bora" userId="87776703-78bb-46fb-aaa4-c405ef74930d" providerId="ADAL" clId="{77E85A37-FF2D-489C-8FF4-40A2BE47BD2A}" dt="2026-01-12T10:29:38.476" v="71" actId="20577"/>
          <ac:spMkLst>
            <pc:docMk/>
            <pc:sldMk cId="2909049360" sldId="2147483096"/>
            <ac:spMk id="51" creationId="{1B68F6F6-644F-F3A3-3743-EFB62A6C604B}"/>
          </ac:spMkLst>
        </pc:spChg>
        <pc:spChg chg="del">
          <ac:chgData name="Adrián Bora" userId="87776703-78bb-46fb-aaa4-c405ef74930d" providerId="ADAL" clId="{77E85A37-FF2D-489C-8FF4-40A2BE47BD2A}" dt="2026-01-12T10:29:42.924" v="74" actId="478"/>
          <ac:spMkLst>
            <pc:docMk/>
            <pc:sldMk cId="2909049360" sldId="2147483096"/>
            <ac:spMk id="52" creationId="{FF0AC5D5-E98C-616F-4160-80AE7861CBC8}"/>
          </ac:spMkLst>
        </pc:spChg>
        <pc:spChg chg="del">
          <ac:chgData name="Adrián Bora" userId="87776703-78bb-46fb-aaa4-c405ef74930d" providerId="ADAL" clId="{77E85A37-FF2D-489C-8FF4-40A2BE47BD2A}" dt="2026-01-12T10:29:41.082" v="72" actId="478"/>
          <ac:spMkLst>
            <pc:docMk/>
            <pc:sldMk cId="2909049360" sldId="2147483096"/>
            <ac:spMk id="58" creationId="{5166DC8D-A537-3B5E-51D4-DD037FBF4C70}"/>
          </ac:spMkLst>
        </pc:spChg>
      </pc:sldChg>
      <pc:sldChg chg="addSp delSp modSp mod">
        <pc:chgData name="Adrián Bora" userId="87776703-78bb-46fb-aaa4-c405ef74930d" providerId="ADAL" clId="{77E85A37-FF2D-489C-8FF4-40A2BE47BD2A}" dt="2026-01-12T10:29:32.095" v="66" actId="478"/>
        <pc:sldMkLst>
          <pc:docMk/>
          <pc:sldMk cId="1156848722" sldId="2147483097"/>
        </pc:sldMkLst>
        <pc:spChg chg="add del mod">
          <ac:chgData name="Adrián Bora" userId="87776703-78bb-46fb-aaa4-c405ef74930d" providerId="ADAL" clId="{77E85A37-FF2D-489C-8FF4-40A2BE47BD2A}" dt="2026-01-12T10:29:29.609" v="64" actId="478"/>
          <ac:spMkLst>
            <pc:docMk/>
            <pc:sldMk cId="1156848722" sldId="2147483097"/>
            <ac:spMk id="4" creationId="{083AC1FF-AE42-4D25-24EA-49AC45691127}"/>
          </ac:spMkLst>
        </pc:spChg>
        <pc:spChg chg="add del mod">
          <ac:chgData name="Adrián Bora" userId="87776703-78bb-46fb-aaa4-c405ef74930d" providerId="ADAL" clId="{77E85A37-FF2D-489C-8FF4-40A2BE47BD2A}" dt="2026-01-12T10:29:32.095" v="66" actId="478"/>
          <ac:spMkLst>
            <pc:docMk/>
            <pc:sldMk cId="1156848722" sldId="2147483097"/>
            <ac:spMk id="6" creationId="{260DA218-FB69-2AAC-1C84-B2C4F98A674B}"/>
          </ac:spMkLst>
        </pc:spChg>
        <pc:spChg chg="mod">
          <ac:chgData name="Adrián Bora" userId="87776703-78bb-46fb-aaa4-c405ef74930d" providerId="ADAL" clId="{77E85A37-FF2D-489C-8FF4-40A2BE47BD2A}" dt="2026-01-12T10:29:25.788" v="62" actId="20577"/>
          <ac:spMkLst>
            <pc:docMk/>
            <pc:sldMk cId="1156848722" sldId="2147483097"/>
            <ac:spMk id="51" creationId="{A7DFAADA-CB09-4F1C-3979-090A44F80934}"/>
          </ac:spMkLst>
        </pc:spChg>
        <pc:spChg chg="del">
          <ac:chgData name="Adrián Bora" userId="87776703-78bb-46fb-aaa4-c405ef74930d" providerId="ADAL" clId="{77E85A37-FF2D-489C-8FF4-40A2BE47BD2A}" dt="2026-01-12T10:29:30.759" v="65" actId="478"/>
          <ac:spMkLst>
            <pc:docMk/>
            <pc:sldMk cId="1156848722" sldId="2147483097"/>
            <ac:spMk id="52" creationId="{3BB56F7F-4697-3E9F-D5A3-573040F8C325}"/>
          </ac:spMkLst>
        </pc:spChg>
        <pc:spChg chg="del">
          <ac:chgData name="Adrián Bora" userId="87776703-78bb-46fb-aaa4-c405ef74930d" providerId="ADAL" clId="{77E85A37-FF2D-489C-8FF4-40A2BE47BD2A}" dt="2026-01-12T10:29:28.337" v="63" actId="478"/>
          <ac:spMkLst>
            <pc:docMk/>
            <pc:sldMk cId="1156848722" sldId="2147483097"/>
            <ac:spMk id="58" creationId="{9D944898-4CAA-04A8-82D6-48F068DCAA7A}"/>
          </ac:spMkLst>
        </pc:spChg>
      </pc:sldChg>
      <pc:sldChg chg="addSp delSp modSp add del mod">
        <pc:chgData name="Adrián Bora" userId="87776703-78bb-46fb-aaa4-c405ef74930d" providerId="ADAL" clId="{77E85A37-FF2D-489C-8FF4-40A2BE47BD2A}" dt="2026-01-12T10:29:02.934" v="50" actId="478"/>
        <pc:sldMkLst>
          <pc:docMk/>
          <pc:sldMk cId="2273751614" sldId="2147483098"/>
        </pc:sldMkLst>
        <pc:spChg chg="add del mod">
          <ac:chgData name="Adrián Bora" userId="87776703-78bb-46fb-aaa4-c405ef74930d" providerId="ADAL" clId="{77E85A37-FF2D-489C-8FF4-40A2BE47BD2A}" dt="2026-01-12T10:28:59.348" v="48" actId="478"/>
          <ac:spMkLst>
            <pc:docMk/>
            <pc:sldMk cId="2273751614" sldId="2147483098"/>
            <ac:spMk id="4" creationId="{AFC89D4F-285C-1564-EB17-50C933A7D5E4}"/>
          </ac:spMkLst>
        </pc:spChg>
        <pc:spChg chg="add del mod">
          <ac:chgData name="Adrián Bora" userId="87776703-78bb-46fb-aaa4-c405ef74930d" providerId="ADAL" clId="{77E85A37-FF2D-489C-8FF4-40A2BE47BD2A}" dt="2026-01-12T10:29:02.934" v="50" actId="478"/>
          <ac:spMkLst>
            <pc:docMk/>
            <pc:sldMk cId="2273751614" sldId="2147483098"/>
            <ac:spMk id="6" creationId="{B0A26EAD-EF4D-38E7-713F-34E6EBAAE4EE}"/>
          </ac:spMkLst>
        </pc:spChg>
        <pc:spChg chg="mod">
          <ac:chgData name="Adrián Bora" userId="87776703-78bb-46fb-aaa4-c405ef74930d" providerId="ADAL" clId="{77E85A37-FF2D-489C-8FF4-40A2BE47BD2A}" dt="2026-01-12T10:28:54.881" v="46" actId="20577"/>
          <ac:spMkLst>
            <pc:docMk/>
            <pc:sldMk cId="2273751614" sldId="2147483098"/>
            <ac:spMk id="51" creationId="{33D41A81-74E9-EA74-19DB-D03D86BDF7F0}"/>
          </ac:spMkLst>
        </pc:spChg>
        <pc:spChg chg="del">
          <ac:chgData name="Adrián Bora" userId="87776703-78bb-46fb-aaa4-c405ef74930d" providerId="ADAL" clId="{77E85A37-FF2D-489C-8FF4-40A2BE47BD2A}" dt="2026-01-12T10:29:01.102" v="49" actId="478"/>
          <ac:spMkLst>
            <pc:docMk/>
            <pc:sldMk cId="2273751614" sldId="2147483098"/>
            <ac:spMk id="52" creationId="{461D13CB-1813-8769-DD6A-942049BCF1B5}"/>
          </ac:spMkLst>
        </pc:spChg>
        <pc:spChg chg="del">
          <ac:chgData name="Adrián Bora" userId="87776703-78bb-46fb-aaa4-c405ef74930d" providerId="ADAL" clId="{77E85A37-FF2D-489C-8FF4-40A2BE47BD2A}" dt="2026-01-12T10:28:57.328" v="47" actId="478"/>
          <ac:spMkLst>
            <pc:docMk/>
            <pc:sldMk cId="2273751614" sldId="2147483098"/>
            <ac:spMk id="58" creationId="{3BDA5F84-AF6B-7B9F-4EEB-D3D798944CAC}"/>
          </ac:spMkLst>
        </pc:spChg>
      </pc:sldChg>
      <pc:sldChg chg="del">
        <pc:chgData name="Adrián Bora" userId="87776703-78bb-46fb-aaa4-c405ef74930d" providerId="ADAL" clId="{77E85A37-FF2D-489C-8FF4-40A2BE47BD2A}" dt="2026-01-12T10:29:06.537" v="51" actId="47"/>
        <pc:sldMkLst>
          <pc:docMk/>
          <pc:sldMk cId="1854434349" sldId="2147483099"/>
        </pc:sldMkLst>
      </pc:sldChg>
      <pc:sldChg chg="modSp mod">
        <pc:chgData name="Adrián Bora" userId="87776703-78bb-46fb-aaa4-c405ef74930d" providerId="ADAL" clId="{77E85A37-FF2D-489C-8FF4-40A2BE47BD2A}" dt="2026-01-12T10:27:00.732" v="33" actId="167"/>
        <pc:sldMkLst>
          <pc:docMk/>
          <pc:sldMk cId="2040112633" sldId="2147483102"/>
        </pc:sldMkLst>
        <pc:graphicFrameChg chg="mod ord">
          <ac:chgData name="Adrián Bora" userId="87776703-78bb-46fb-aaa4-c405ef74930d" providerId="ADAL" clId="{77E85A37-FF2D-489C-8FF4-40A2BE47BD2A}" dt="2026-01-12T10:27:00.732" v="33" actId="167"/>
          <ac:graphicFrameMkLst>
            <pc:docMk/>
            <pc:sldMk cId="2040112633" sldId="2147483102"/>
            <ac:graphicFrameMk id="4" creationId="{1317E8CE-BC0A-BCE4-DB4A-358DDCB6FAFB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C7C37F2-102A-E70E-C239-6D6132998F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44137C-9761-048E-EDD8-C704524678C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57AD44-A77C-4C18-B811-7E387DA9CA05}" type="datetimeFigureOut">
              <a:rPr lang="en-US" smtClean="0"/>
              <a:t>1/12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3A40C3-4AD2-3212-2763-B2788D55C6F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B9F119-B49B-DD2D-0296-BD1BEE7C12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C97A39-3B24-4F84-8C61-91B065FC559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4487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/12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2C7316-3AF9-4724-B535-CE600B09BE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7114EE4-5C31-A3C2-E905-E8DD0310A9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8CB86-EFEB-3B01-6135-11870B3B4E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86624B-7702-90B2-8E0B-8D0E6A266F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621182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42213-9FFF-BC99-F8F6-D572A55FF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208B77-977B-C08B-FB23-7D7A47F146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A003E7-C7AF-64AE-5BAA-045709E621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54AD6-4782-20C5-A6F4-0BF7B852D6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0998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04FCCC-259B-39FA-B63C-99A28A55AE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786594-7A25-2DCB-BD11-3A99AED013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9ABA23-D11A-53F8-8D93-5F3102F725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1EB9E-3486-2A02-6B87-BF11B12D43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83097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E22B11-80E9-A4BF-F2AF-BEF22C369E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F02D0E-A095-13FE-EAE7-4C177F1D69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46F9AB-F4D6-300B-A15F-A034EF8BE8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695D4-5A1C-F83F-E961-13F9289755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824614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>
              <a:solidFill>
                <a:srgbClr val="C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827355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417402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6233C2-77FD-4B13-2FB9-7D4949523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CBB4D8-AF2F-F8C9-25A1-0FA6A64826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E36A74-157E-B4F3-FD38-F64D9A9285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5E2F46-14D5-ED4E-384B-5DAB139352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65828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102118-D5AB-861F-1F5F-5BD872DE4D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59C57D-F8DC-FC92-9530-EC2B1956AB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469288-7A37-9882-E5FD-46DA920D9C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550E90-985E-DBD2-5576-734B209F15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B7132792-EEB3-4258-9715-9B08C17B4345}" type="slidenum">
              <a:rPr/>
              <a:t>2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90651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78D3D9-9156-1F22-E352-AD5384C47F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971CDFC-01E8-39D7-358E-945B661D58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D47BC74-01EB-040E-DD9B-297906B2F0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86063BC-4706-417A-42D5-D98FD22D4B8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758911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954E2A-61B8-A425-702F-C0C054F34A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F6E5049-7323-1DDC-0A44-A52D365100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B5881B-F87B-8EC8-84D8-F2AE82F8A6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EF6FEC-8230-DA8B-7813-8655DBFD0D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875812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AE4013-AFE2-4F53-970C-A43B4C2B4B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D49E5D-C6DC-3987-F1AF-7BDA5A3157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79E31C4-55D3-5D4B-9B39-4C3A09EAAB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04FEB5-F543-DA3E-2711-92BA3A2FB8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254255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417402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F2EFC7-7D89-86A2-5735-8CADF0658D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C18205-0AFB-344E-A333-F7B0B3E773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CCC73D6-553D-F047-1E98-2F689120DA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C7D559-B0D0-7F04-CD0B-9533C85201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199077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EB0277-EB18-FBBF-3258-829F3A55A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81CEA2-2E85-8091-7703-EF6198D21A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AFC235-F0C1-E43E-980D-DDA3B43AE1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385518-659B-2BA4-DE47-F6CBE2A848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95517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75D165-2159-694F-B2DF-B94AB90172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E05CB1-4338-ABAA-6509-51862EBB78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376A771-F94E-109E-1863-F7799FF76E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256D6F-506C-89C2-FB69-6066E33EFE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840114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FECD38-A526-807E-C748-4E18BB139F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3682830-E604-E0A2-DC24-06F2EB9737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C9D7E9F-31B7-8760-EE5F-D7DD1F193B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CC445A-7E13-4B41-EEB3-1245460361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66894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4B0F5B59-EE06-436A-858A-CCDD6FBB175C}" type="datetime1">
              <a:rPr lang="en-US" smtClean="0"/>
              <a:t>1/1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EBA8770B-4A02-4B68-BD74-C99827BB6EFA}" type="datetime1">
              <a:rPr lang="en-US" smtClean="0"/>
              <a:t>1/1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33E96EE0-0E9F-4078-BE71-5FF16A140549}" type="datetime1">
              <a:rPr lang="en-US" smtClean="0"/>
              <a:t>1/1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06DD6EA-A2CF-4D67-9510-56628C23D9F7}" type="datetime1">
              <a:rPr lang="en-US" smtClean="0"/>
              <a:t>1/12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E241589-4F53-445D-981C-6C95414EE8DB}" type="datetime1">
              <a:rPr lang="en-US" smtClean="0"/>
              <a:t>1/12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04BAA50-7E29-43A1-8A07-2DCBB4900148}" type="datetime1">
              <a:rPr lang="en-US" smtClean="0"/>
              <a:t>1/12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339EDC5-C2F6-4250-8049-0213A0C43A52}" type="datetime1">
              <a:rPr lang="en-US" smtClean="0"/>
              <a:t>1/12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78225EA-88EB-4F56-A70C-5D5DB2917551}" type="datetime1">
              <a:rPr lang="en-US" smtClean="0"/>
              <a:t>1/12/2026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7ACAEB0D-2036-45C7-A59F-DDE428EC325F}" type="datetime1">
              <a:rPr lang="en-US" smtClean="0"/>
              <a:t>1/12/2026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EE9D1F6-326C-46F7-954F-7CC15E75FFBC}" type="datetime1">
              <a:rPr lang="en-US" smtClean="0"/>
              <a:t>1/12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852030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760C5F6F-0ACF-41D5-9FB0-CEB4A45A0FAA}" type="datetime1">
              <a:rPr lang="en-US" smtClean="0"/>
              <a:t>1/12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ECDCE3-C70A-438C-B081-BFDC1020B508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t>1/12/2026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>
                    <a:tint val="75000"/>
                  </a:srgbClr>
                </a:solidFill>
              </a:rPr>
              <a:t>COMPANY 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479426" y="6452124"/>
            <a:ext cx="270170" cy="307777"/>
          </a:xfrm>
        </p:spPr>
        <p:txBody>
          <a:bodyPr/>
          <a:lstStyle/>
          <a:p>
            <a:r>
              <a:rPr lang="en-US" dirty="0">
                <a:solidFill>
                  <a:srgbClr val="000000">
                    <a:tint val="75000"/>
                  </a:srgbClr>
                </a:solidFill>
              </a:rPr>
              <a:t>Page </a:t>
            </a:r>
            <a:fld id="{D1CE7045-5CDA-4635-8EEB-5A0FFD577EE8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4886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EF4660B-6E72-3E47-185A-BA477829B172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7" name="Picture 6" descr="Text, logo&#10;&#10;Description automatically generated">
            <a:extLst>
              <a:ext uri="{FF2B5EF4-FFF2-40B4-BE49-F238E27FC236}">
                <a16:creationId xmlns:a16="http://schemas.microsoft.com/office/drawing/2014/main" id="{BEA4AD1F-8FF5-D34F-F60E-1039EFBC9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6812" y="2619513"/>
            <a:ext cx="4758375" cy="1618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56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B04FEF9F-2738-4C46-8C71-EE6EA6A9E99C}" type="datetime1">
              <a:rPr lang="en-US" smtClean="0"/>
              <a:t>1/12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90FCD31F-6A86-4C11-BF16-B8792D800B16}" type="datetime1">
              <a:rPr lang="en-US" smtClean="0"/>
              <a:t>1/12/2026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96BBC3-877B-4D40-86BE-48FBDA2F7F31}" type="datetime1">
              <a:rPr lang="en-US" smtClean="0"/>
              <a:t>1/1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B16F02B-D20D-4CFA-B809-B02AE93C1688}" type="datetime1">
              <a:rPr lang="en-US" smtClean="0"/>
              <a:t>1/12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F000C27-6A5F-4399-BA75-A4ADF25ECA62}" type="datetime1">
              <a:rPr lang="en-US" smtClean="0"/>
              <a:t>1/12/2026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0BDBC2B-46FD-4911-BEDD-5A255393B724}" type="datetime1">
              <a:rPr lang="en-US" smtClean="0"/>
              <a:t>1/12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2ECD4BF9-F2F2-48B5-B183-1C92F9EF52FD}" type="datetime1">
              <a:rPr lang="en-US" smtClean="0"/>
              <a:t>1/12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82438741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9597C8B-34B9-430B-B93F-8855F7CC53A8}" type="datetime1">
              <a:rPr lang="en-US" smtClean="0"/>
              <a:t>1/1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  <p:sldLayoutId id="2147483738" r:id="rId20"/>
    <p:sldLayoutId id="2147483739" r:id="rId21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7.xml"/><Relationship Id="rId6" Type="http://schemas.openxmlformats.org/officeDocument/2006/relationships/image" Target="../media/image54.jpe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5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6" Type="http://schemas.openxmlformats.org/officeDocument/2006/relationships/image" Target="../media/image56.pn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9.xml"/><Relationship Id="rId6" Type="http://schemas.openxmlformats.org/officeDocument/2006/relationships/image" Target="../media/image59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.x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.x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8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3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4.xml"/><Relationship Id="rId6" Type="http://schemas.openxmlformats.org/officeDocument/2006/relationships/image" Target="../media/image14.pn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5.xml"/><Relationship Id="rId6" Type="http://schemas.openxmlformats.org/officeDocument/2006/relationships/image" Target="../media/image53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notesSlide" Target="../notesSlides/notesSlide11.xml"/><Relationship Id="rId7" Type="http://schemas.microsoft.com/office/2007/relationships/hdphoto" Target="../media/hdphoto1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6.xml"/><Relationship Id="rId6" Type="http://schemas.openxmlformats.org/officeDocument/2006/relationships/image" Target="../media/image66.pn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20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5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.xml"/><Relationship Id="rId6" Type="http://schemas.openxmlformats.org/officeDocument/2006/relationships/image" Target="../media/image56.pn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21.bin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7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69.tif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9.xml"/><Relationship Id="rId6" Type="http://schemas.openxmlformats.org/officeDocument/2006/relationships/image" Target="../media/image59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72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59.emf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73.png"/><Relationship Id="rId4" Type="http://schemas.openxmlformats.org/officeDocument/2006/relationships/notesSlide" Target="../notesSlides/notesSlide1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5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2.svg"/><Relationship Id="rId18" Type="http://schemas.openxmlformats.org/officeDocument/2006/relationships/image" Target="../media/image37.png"/><Relationship Id="rId26" Type="http://schemas.openxmlformats.org/officeDocument/2006/relationships/image" Target="../media/image45.pn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40.svg"/><Relationship Id="rId7" Type="http://schemas.openxmlformats.org/officeDocument/2006/relationships/image" Target="../media/image26.svg"/><Relationship Id="rId12" Type="http://schemas.openxmlformats.org/officeDocument/2006/relationships/image" Target="../media/image31.png"/><Relationship Id="rId17" Type="http://schemas.openxmlformats.org/officeDocument/2006/relationships/image" Target="../media/image36.svg"/><Relationship Id="rId25" Type="http://schemas.openxmlformats.org/officeDocument/2006/relationships/image" Target="../media/image44.svg"/><Relationship Id="rId33" Type="http://schemas.openxmlformats.org/officeDocument/2006/relationships/image" Target="../media/image52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5.png"/><Relationship Id="rId20" Type="http://schemas.openxmlformats.org/officeDocument/2006/relationships/image" Target="../media/image39.png"/><Relationship Id="rId29" Type="http://schemas.openxmlformats.org/officeDocument/2006/relationships/image" Target="../media/image48.svg"/><Relationship Id="rId1" Type="http://schemas.openxmlformats.org/officeDocument/2006/relationships/tags" Target="../tags/tag16.xml"/><Relationship Id="rId6" Type="http://schemas.openxmlformats.org/officeDocument/2006/relationships/image" Target="../media/image25.png"/><Relationship Id="rId11" Type="http://schemas.openxmlformats.org/officeDocument/2006/relationships/image" Target="../media/image30.svg"/><Relationship Id="rId24" Type="http://schemas.openxmlformats.org/officeDocument/2006/relationships/image" Target="../media/image43.png"/><Relationship Id="rId32" Type="http://schemas.openxmlformats.org/officeDocument/2006/relationships/image" Target="../media/image51.png"/><Relationship Id="rId5" Type="http://schemas.openxmlformats.org/officeDocument/2006/relationships/image" Target="../media/image24.emf"/><Relationship Id="rId15" Type="http://schemas.openxmlformats.org/officeDocument/2006/relationships/image" Target="../media/image34.svg"/><Relationship Id="rId23" Type="http://schemas.openxmlformats.org/officeDocument/2006/relationships/image" Target="../media/image42.svg"/><Relationship Id="rId28" Type="http://schemas.openxmlformats.org/officeDocument/2006/relationships/image" Target="../media/image47.png"/><Relationship Id="rId10" Type="http://schemas.openxmlformats.org/officeDocument/2006/relationships/image" Target="../media/image29.png"/><Relationship Id="rId19" Type="http://schemas.openxmlformats.org/officeDocument/2006/relationships/image" Target="../media/image38.svg"/><Relationship Id="rId31" Type="http://schemas.openxmlformats.org/officeDocument/2006/relationships/image" Target="../media/image50.sv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8.svg"/><Relationship Id="rId14" Type="http://schemas.openxmlformats.org/officeDocument/2006/relationships/image" Target="../media/image33.png"/><Relationship Id="rId22" Type="http://schemas.openxmlformats.org/officeDocument/2006/relationships/image" Target="../media/image41.png"/><Relationship Id="rId27" Type="http://schemas.openxmlformats.org/officeDocument/2006/relationships/image" Target="../media/image46.svg"/><Relationship Id="rId30" Type="http://schemas.openxmlformats.org/officeDocument/2006/relationships/image" Target="../media/image49.png"/><Relationship Id="rId8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and blue machine with wheels and smoke coming out of it&#10;&#10;Description automatically generated">
            <a:extLst>
              <a:ext uri="{FF2B5EF4-FFF2-40B4-BE49-F238E27FC236}">
                <a16:creationId xmlns:a16="http://schemas.microsoft.com/office/drawing/2014/main" id="{45A7884E-A657-1EA4-0294-113C8CEA4CD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 b="-1"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64960" y="1506154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8" name="Title 3">
            <a:extLst>
              <a:ext uri="{FF2B5EF4-FFF2-40B4-BE49-F238E27FC236}">
                <a16:creationId xmlns:a16="http://schemas.microsoft.com/office/drawing/2014/main" id="{AC05CF4E-24FF-57DA-3526-13554FC3F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669851"/>
            <a:ext cx="11233150" cy="1169582"/>
          </a:xfrm>
        </p:spPr>
        <p:txBody>
          <a:bodyPr/>
          <a:lstStyle/>
          <a:p>
            <a:pPr rtl="0">
              <a:lnSpc>
                <a:spcPct val="120000"/>
              </a:lnSpc>
              <a:spcAft>
                <a:spcPts val="0"/>
              </a:spcAft>
            </a:pPr>
            <a:r>
              <a:rPr lang="es-es" sz="2000" b="0" i="0" u="none" baseline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esentamos nuestra nueva gama AERO a batería</a:t>
            </a:r>
            <a:br>
              <a:rPr lang="es-es" dirty="0">
                <a:solidFill>
                  <a:schemeClr val="bg1"/>
                </a:solidFill>
              </a:rPr>
            </a:br>
            <a:r>
              <a:rPr lang="es-es" b="1" i="0" u="none" baseline="0" dirty="0" err="1">
                <a:solidFill>
                  <a:schemeClr val="bg1"/>
                </a:solidFill>
              </a:rPr>
              <a:t>Nilfisk</a:t>
            </a:r>
            <a:r>
              <a:rPr lang="es-es" b="1" i="0" u="none" baseline="0" dirty="0">
                <a:solidFill>
                  <a:schemeClr val="bg1"/>
                </a:solidFill>
              </a:rPr>
              <a:t> AERO B</a:t>
            </a:r>
            <a:endParaRPr lang="es-es" i="0" u="none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270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BA96F0-8BDF-7A07-749E-A8C4673DF3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70E876C-F1C0-3E6D-F791-19983BC1F6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70E876C-F1C0-3E6D-F791-19983BC1F6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67FB50-A039-444F-C56A-A5BB8AE48D3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0</a:t>
            </a:fld>
            <a:endParaRPr lang="es-e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E64CF9-6F78-E617-44A3-46651CFD18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Factores identificados y necesidades destacada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00D66E0-F545-86D3-05B3-95DDE4918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0264775" cy="388013"/>
          </a:xfrm>
        </p:spPr>
        <p:txBody>
          <a:bodyPr vert="horz"/>
          <a:lstStyle/>
          <a:p>
            <a:pPr algn="l" rtl="0"/>
            <a:r>
              <a:rPr lang="es-es" b="1" i="0" u="none" baseline="0"/>
              <a:t>2 | Segmento objetivo y aplicaciones clave</a:t>
            </a:r>
            <a:endParaRPr lang="es-e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9B250A1-950D-DBF9-5628-3933FC6BF4BE}"/>
              </a:ext>
            </a:extLst>
          </p:cNvPr>
          <p:cNvSpPr txBox="1">
            <a:spLocks/>
          </p:cNvSpPr>
          <p:nvPr/>
        </p:nvSpPr>
        <p:spPr>
          <a:xfrm>
            <a:off x="479425" y="1669325"/>
            <a:ext cx="3559175" cy="729585"/>
          </a:xfrm>
          <a:prstGeom prst="rect">
            <a:avLst/>
          </a:prstGeom>
        </p:spPr>
        <p:txBody>
          <a:bodyPr vert="horz" wrap="square" lIns="0" tIns="0" rIns="0" bIns="36000" numCol="2" spcCol="108000" rtlCol="0" anchor="t" anchorCtr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trucción </a:t>
            </a:r>
            <a:endParaRPr kumimoji="0" lang="es-es" sz="120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dustria ligera 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200" b="0" i="0" u="none" baseline="0">
                <a:solidFill>
                  <a:srgbClr val="28313F"/>
                </a:solidFill>
                <a:latin typeface="+mn-lt"/>
                <a:cs typeface="+mn-cs"/>
              </a:rPr>
              <a:t>Automoción </a:t>
            </a:r>
            <a:endParaRPr lang="es-es" sz="1200" dirty="0">
              <a:solidFill>
                <a:srgbClr val="28313F"/>
              </a:solidFill>
              <a:latin typeface="+mn-lt"/>
              <a:cs typeface="+mn-cs"/>
            </a:endParaRP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200" b="0" i="0" u="none" baseline="0">
                <a:solidFill>
                  <a:srgbClr val="28313F"/>
                </a:solidFill>
                <a:latin typeface="+mn-lt"/>
                <a:cs typeface="+mn-cs"/>
              </a:rPr>
              <a:t>Defens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200" b="0" i="0" u="none" baseline="0">
                <a:solidFill>
                  <a:srgbClr val="28313F"/>
                </a:solidFill>
                <a:latin typeface="+mn-lt"/>
                <a:cs typeface="+mn-cs"/>
              </a:rPr>
              <a:t>Limpieza general</a:t>
            </a:r>
            <a:endParaRPr lang="es-es" sz="1200" dirty="0">
              <a:solidFill>
                <a:srgbClr val="28313F"/>
              </a:solidFill>
              <a:latin typeface="+mn-lt"/>
            </a:endParaRPr>
          </a:p>
        </p:txBody>
      </p:sp>
      <p:pic>
        <p:nvPicPr>
          <p:cNvPr id="4" name="Picture 3" descr="A person vacuuming the floor&#10;&#10;AI-generated content may be incorrect.">
            <a:extLst>
              <a:ext uri="{FF2B5EF4-FFF2-40B4-BE49-F238E27FC236}">
                <a16:creationId xmlns:a16="http://schemas.microsoft.com/office/drawing/2014/main" id="{68445276-9050-1F78-A7AA-5BAFE3FE24F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-1"/>
          <a:stretch>
            <a:fillRect/>
          </a:stretch>
        </p:blipFill>
        <p:spPr>
          <a:xfrm>
            <a:off x="8148638" y="0"/>
            <a:ext cx="4043362" cy="62738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449E947-EAEB-AFC1-6B2B-1244683F9A8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4A09E99-3C3E-D7E5-D669-EE01E428B5AB}"/>
              </a:ext>
            </a:extLst>
          </p:cNvPr>
          <p:cNvSpPr txBox="1">
            <a:spLocks/>
          </p:cNvSpPr>
          <p:nvPr/>
        </p:nvSpPr>
        <p:spPr>
          <a:xfrm>
            <a:off x="479425" y="2576660"/>
            <a:ext cx="7669213" cy="4150367"/>
          </a:xfrm>
          <a:prstGeom prst="rect">
            <a:avLst/>
          </a:prstGeom>
        </p:spPr>
        <p:txBody>
          <a:bodyPr vert="horz" wrap="square" lIns="0" tIns="0" rIns="0" bIns="9144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defTabSz="1023967" rtl="0">
              <a:spcBef>
                <a:spcPts val="400"/>
              </a:spcBef>
              <a:defRPr/>
            </a:pPr>
            <a:r>
              <a:rPr lang="es-es" sz="1200" b="0" i="0" u="none" baseline="0" dirty="0">
                <a:solidFill>
                  <a:srgbClr val="28313F"/>
                </a:solidFill>
                <a:latin typeface="+mj-lt"/>
                <a:ea typeface="+mj-lt"/>
                <a:cs typeface="+mj-lt"/>
              </a:rPr>
              <a:t>Aplicaciones principales</a:t>
            </a:r>
          </a:p>
          <a:p>
            <a:pPr marL="199105" lvl="0" indent="-199105" algn="l" defTabSz="1023967" rtl="0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s-es" sz="1200" b="0" i="0" u="none" baseline="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impieza versátil en todas las industrias</a:t>
            </a:r>
            <a:br>
              <a:rPr lang="es-es" sz="1200" dirty="0">
                <a:solidFill>
                  <a:srgbClr val="28313F"/>
                </a:solidFill>
                <a:latin typeface="+mn-lt"/>
              </a:rPr>
            </a:br>
            <a:r>
              <a:rPr lang="es-es" sz="1200" b="0" i="0" u="none" baseline="0" dirty="0">
                <a:solidFill>
                  <a:srgbClr val="28313F"/>
                </a:solidFill>
                <a:latin typeface="+mn-lt"/>
                <a:ea typeface="+mn-lt"/>
                <a:cs typeface="+mn-lt"/>
              </a:rPr>
              <a:t>Basada en la reconocida plataforma AERO, es ideal para tareas de limpieza en la industria, la automoción y la construcción.</a:t>
            </a:r>
          </a:p>
          <a:p>
            <a:pPr marL="199105" lvl="0" indent="-199105" algn="l" defTabSz="1023967" rtl="0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s-es" sz="1200" b="0" i="0" u="none" baseline="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uncionamiento móvil e inalámbrico</a:t>
            </a:r>
            <a:br>
              <a:rPr lang="es-es" sz="1200" dirty="0">
                <a:solidFill>
                  <a:srgbClr val="28313F"/>
                </a:solidFill>
                <a:latin typeface="+mn-lt"/>
              </a:rPr>
            </a:br>
            <a:r>
              <a:rPr lang="es-es" sz="1200" b="0" i="0" u="none" baseline="0" dirty="0">
                <a:solidFill>
                  <a:srgbClr val="28313F"/>
                </a:solidFill>
                <a:latin typeface="+mn-lt"/>
                <a:ea typeface="+mn-lt"/>
                <a:cs typeface="+mn-lt"/>
              </a:rPr>
              <a:t>Equipado con la potente batería NBP para un uso de alto rendimiento en áreas sin acceso a la corriente.</a:t>
            </a:r>
          </a:p>
          <a:p>
            <a:pPr marL="199105" lvl="0" indent="-199105" algn="l" defTabSz="1023967" rtl="0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s-es" sz="1200" b="0" i="0" u="none" baseline="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uncionamiento inteligente y controlado a distancia </a:t>
            </a:r>
            <a:br>
              <a:rPr lang="es-es" sz="1200" dirty="0">
                <a:solidFill>
                  <a:srgbClr val="28313F"/>
                </a:solidFill>
                <a:latin typeface="+mn-lt"/>
              </a:rPr>
            </a:br>
            <a:r>
              <a:rPr lang="es-es" sz="1200" b="0" i="0" u="none" baseline="0" dirty="0">
                <a:solidFill>
                  <a:srgbClr val="28313F"/>
                </a:solidFill>
                <a:latin typeface="+mn-lt"/>
                <a:ea typeface="+mn-lt"/>
                <a:cs typeface="+mn-lt"/>
              </a:rPr>
              <a:t>El control remoto </a:t>
            </a:r>
            <a:r>
              <a:rPr lang="es-es" sz="1200" b="0" i="0" u="none" baseline="0" dirty="0" err="1">
                <a:solidFill>
                  <a:srgbClr val="28313F"/>
                </a:solidFill>
                <a:latin typeface="+mn-lt"/>
                <a:ea typeface="+mn-lt"/>
                <a:cs typeface="+mn-lt"/>
              </a:rPr>
              <a:t>AutoSense</a:t>
            </a:r>
            <a:r>
              <a:rPr lang="es-es" sz="1200" b="0" i="0" u="none" baseline="0" dirty="0">
                <a:solidFill>
                  <a:srgbClr val="28313F"/>
                </a:solidFill>
                <a:latin typeface="+mn-lt"/>
                <a:ea typeface="+mn-lt"/>
                <a:cs typeface="+mn-lt"/>
              </a:rPr>
              <a:t> permite un funcionamiento eficiente y fácil de usar en entornos complejos o peligrosos.</a:t>
            </a:r>
          </a:p>
          <a:p>
            <a:pPr marL="199105" lvl="0" indent="-199105" algn="l" defTabSz="1023967" rtl="0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s-es" sz="1200" b="0" i="0" u="none" baseline="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anipulación segura de polvo peligroso</a:t>
            </a:r>
            <a:br>
              <a:rPr lang="es-es" sz="1200" dirty="0">
                <a:solidFill>
                  <a:srgbClr val="28313F"/>
                </a:solidFill>
                <a:latin typeface="+mn-lt"/>
              </a:rPr>
            </a:br>
            <a:r>
              <a:rPr lang="es-es" sz="1200" b="0" i="0" u="none" baseline="0" dirty="0">
                <a:solidFill>
                  <a:srgbClr val="28313F"/>
                </a:solidFill>
                <a:latin typeface="+mn-lt"/>
                <a:ea typeface="+mn-lt"/>
                <a:cs typeface="+mn-lt"/>
              </a:rPr>
              <a:t>Certificado para polvo de clase L y M, compatible con aplicaciones en entornos con estrictas normativas de salud y seguridad.</a:t>
            </a:r>
          </a:p>
          <a:p>
            <a:pPr marL="199105" lvl="0" indent="-199105" algn="l" defTabSz="1023967" rtl="0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s-es" sz="1200" b="0" i="0" u="none" baseline="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La </a:t>
            </a:r>
            <a:r>
              <a:rPr lang="es-es" sz="1200" b="0" i="0" u="none" baseline="0" dirty="0" err="1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ficiaz</a:t>
            </a:r>
            <a:r>
              <a:rPr lang="es-es" sz="1200" b="0" i="0" u="none" baseline="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 limpieza del filtro para uso continuo con la tecnología</a:t>
            </a:r>
            <a:br>
              <a:rPr lang="es-es" sz="1200" dirty="0">
                <a:solidFill>
                  <a:srgbClr val="28313F"/>
                </a:solidFill>
                <a:latin typeface="+mn-lt"/>
              </a:rPr>
            </a:br>
            <a:r>
              <a:rPr lang="es-es" sz="1200" b="0" i="0" u="none" baseline="0" dirty="0" err="1">
                <a:solidFill>
                  <a:srgbClr val="28313F"/>
                </a:solidFill>
                <a:latin typeface="+mn-lt"/>
                <a:ea typeface="+mn-lt"/>
                <a:cs typeface="+mn-lt"/>
              </a:rPr>
              <a:t>Push&amp;Clean</a:t>
            </a:r>
            <a:r>
              <a:rPr lang="es-es" sz="1200" b="0" i="0" u="none" baseline="0" dirty="0">
                <a:solidFill>
                  <a:srgbClr val="28313F"/>
                </a:solidFill>
                <a:latin typeface="+mn-lt"/>
                <a:ea typeface="+mn-lt"/>
                <a:cs typeface="+mn-lt"/>
              </a:rPr>
              <a:t>™ garantiza un rendimiento ininterrumpido en trabajos con mucho polvo.</a:t>
            </a:r>
          </a:p>
          <a:p>
            <a:pPr marL="199105" lvl="0" indent="-199105" algn="l" defTabSz="1023967" rtl="0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s-es" sz="1200" b="0" i="0" u="none" baseline="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spiración silenciosa y potente para entornos sensibles.</a:t>
            </a:r>
            <a:br>
              <a:rPr lang="es-es" sz="1200" dirty="0">
                <a:solidFill>
                  <a:srgbClr val="28313F"/>
                </a:solidFill>
                <a:latin typeface="+mn-lt"/>
              </a:rPr>
            </a:br>
            <a:r>
              <a:rPr lang="es-es" sz="1200" b="0" i="0" u="none" baseline="0" dirty="0">
                <a:solidFill>
                  <a:srgbClr val="28313F"/>
                </a:solidFill>
                <a:latin typeface="+mn-lt"/>
                <a:ea typeface="+mn-lt"/>
                <a:cs typeface="+mn-lt"/>
              </a:rPr>
              <a:t>La turbina de alta eficiencia, con bajo nivel de ruido, es ideal para su uso en zonas sensibles al ruido, como hospitales, escuelas u oficinas.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B5FDED9-1783-96C8-70FD-5C0B625F501F}"/>
              </a:ext>
            </a:extLst>
          </p:cNvPr>
          <p:cNvSpPr txBox="1">
            <a:spLocks/>
          </p:cNvSpPr>
          <p:nvPr/>
        </p:nvSpPr>
        <p:spPr>
          <a:xfrm>
            <a:off x="479425" y="1412875"/>
            <a:ext cx="3559175" cy="241023"/>
          </a:xfrm>
          <a:prstGeom prst="rect">
            <a:avLst/>
          </a:prstGeom>
        </p:spPr>
        <p:txBody>
          <a:bodyPr vert="horz" wrap="square" lIns="0" tIns="0" rIns="0" bIns="36000" numCol="2" spcCol="108000" rtlCol="0" anchor="t" anchorCtr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023967" rtl="0">
              <a:spcBef>
                <a:spcPts val="400"/>
              </a:spcBef>
              <a:defRPr/>
            </a:pPr>
            <a:r>
              <a:rPr lang="es-es" sz="1200" b="0" i="0" u="none" baseline="0">
                <a:solidFill>
                  <a:srgbClr val="28313F"/>
                </a:solidFill>
                <a:latin typeface="+mj-lt"/>
                <a:ea typeface="+mj-lt"/>
                <a:cs typeface="+mj-lt"/>
              </a:rPr>
              <a:t>Segmentos</a:t>
            </a:r>
          </a:p>
        </p:txBody>
      </p:sp>
    </p:spTree>
    <p:extLst>
      <p:ext uri="{BB962C8B-B14F-4D97-AF65-F5344CB8AC3E}">
        <p14:creationId xmlns:p14="http://schemas.microsoft.com/office/powerpoint/2010/main" val="377414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232328-D141-54E1-19F8-5990BFC4D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D6FA7A-F4BD-79B9-8F27-C36F294D4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s-es" b="1" i="0" u="none" baseline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2DF63EA-CFEA-722D-FA20-DADE4DC52904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C12DF20-EEEB-892A-54CA-E3694A59F36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1</a:t>
            </a:fld>
            <a:endParaRPr lang="es-es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CC449105-BCA7-5A4C-9161-559C713D21C6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>
                <a:solidFill>
                  <a:schemeClr val="bg2"/>
                </a:solidFill>
              </a:rPr>
              <a:t>Antecedentes y VP</a:t>
            </a:r>
            <a:endParaRPr lang="es-es" dirty="0">
              <a:solidFill>
                <a:schemeClr val="bg2"/>
              </a:solidFill>
            </a:endParaRP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310FAC6E-A1BD-F003-9F01-051E143D6877}"/>
              </a:ext>
            </a:extLst>
          </p:cNvPr>
          <p:cNvSpPr txBox="1">
            <a:spLocks/>
          </p:cNvSpPr>
          <p:nvPr/>
        </p:nvSpPr>
        <p:spPr>
          <a:xfrm>
            <a:off x="1968167" y="2222844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>
                <a:solidFill>
                  <a:schemeClr val="bg2"/>
                </a:solidFill>
              </a:rPr>
              <a:t>Segmento objetivo</a:t>
            </a:r>
            <a:endParaRPr lang="es-es" dirty="0">
              <a:solidFill>
                <a:schemeClr val="bg2"/>
              </a:solidFill>
            </a:endParaRP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CDBC5692-8B3D-7B06-0673-F618AE7AC995}"/>
              </a:ext>
            </a:extLst>
          </p:cNvPr>
          <p:cNvSpPr txBox="1">
            <a:spLocks/>
          </p:cNvSpPr>
          <p:nvPr/>
        </p:nvSpPr>
        <p:spPr>
          <a:xfrm>
            <a:off x="1968167" y="3064563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 dirty="0"/>
              <a:t>Nuevo aspirador a batería</a:t>
            </a:r>
            <a:endParaRPr lang="es-es" dirty="0"/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64BE6DEB-7266-C31C-E817-5991A8AF36C3}"/>
              </a:ext>
            </a:extLst>
          </p:cNvPr>
          <p:cNvSpPr txBox="1">
            <a:spLocks/>
          </p:cNvSpPr>
          <p:nvPr/>
        </p:nvSpPr>
        <p:spPr>
          <a:xfrm>
            <a:off x="1968167" y="3906282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>
                <a:solidFill>
                  <a:schemeClr val="bg2"/>
                </a:solidFill>
              </a:rPr>
              <a:t>Argumentos de venta principa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1B68F6F6-644F-F3A3-3743-EFB62A6C604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4748001"/>
            <a:ext cx="4018296" cy="698238"/>
          </a:xfrm>
        </p:spPr>
        <p:txBody>
          <a:bodyPr/>
          <a:lstStyle/>
          <a:p>
            <a:pPr algn="l" rtl="0">
              <a:lnSpc>
                <a:spcPct val="120000"/>
              </a:lnSpc>
            </a:pPr>
            <a:r>
              <a:rPr lang="es-es" b="0" i="0" u="none" baseline="0" dirty="0">
                <a:solidFill>
                  <a:schemeClr val="bg2"/>
                </a:solidFill>
              </a:rPr>
              <a:t>Otro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D19929E7-FC95-1A3B-B3FD-EF7486D7C1AF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1</a:t>
            </a:r>
            <a:endParaRPr lang="es-es" dirty="0"/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D5B3743E-3E57-68F8-DD87-146E664FD044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2</a:t>
            </a:r>
            <a:endParaRPr lang="es-es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1A486463-87E9-F460-A647-6FD911BB38BF}"/>
              </a:ext>
            </a:extLst>
          </p:cNvPr>
          <p:cNvSpPr txBox="1">
            <a:spLocks/>
          </p:cNvSpPr>
          <p:nvPr/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3</a:t>
            </a:r>
            <a:endParaRPr lang="es-es" dirty="0"/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07CD2A02-D4C0-E5BB-2632-9D1930FB23FF}"/>
              </a:ext>
            </a:extLst>
          </p:cNvPr>
          <p:cNvSpPr txBox="1">
            <a:spLocks/>
          </p:cNvSpPr>
          <p:nvPr/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4</a:t>
            </a:r>
            <a:endParaRPr lang="es-es" dirty="0"/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E6DC3BEA-1810-C72A-5B40-38C4C72CE59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4748001"/>
            <a:ext cx="698400" cy="698238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pPr rtl="0"/>
            <a:r>
              <a:rPr lang="es-es" b="1" i="0" u="none" baseline="0"/>
              <a:t>5</a:t>
            </a:r>
          </a:p>
        </p:txBody>
      </p:sp>
      <p:pic>
        <p:nvPicPr>
          <p:cNvPr id="3" name="Picture Placeholder 21">
            <a:extLst>
              <a:ext uri="{FF2B5EF4-FFF2-40B4-BE49-F238E27FC236}">
                <a16:creationId xmlns:a16="http://schemas.microsoft.com/office/drawing/2014/main" id="{611BCAFA-1AE3-5C76-F838-F9EAA6F2077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05540" y="0"/>
            <a:ext cx="5986460" cy="6273800"/>
          </a:xfrm>
        </p:spPr>
      </p:pic>
    </p:spTree>
    <p:extLst>
      <p:ext uri="{BB962C8B-B14F-4D97-AF65-F5344CB8AC3E}">
        <p14:creationId xmlns:p14="http://schemas.microsoft.com/office/powerpoint/2010/main" val="2909049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D76DDD-EABE-878A-8EE0-53A75AA3C1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7D1BF2-3783-0866-7400-6996F229C4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0444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7D1BF2-3783-0866-7400-6996F229C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95F96E1-5AA6-0D2E-79C5-B6EC91B572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El primer LightIVac que funciona totalmente con batería</a:t>
            </a:r>
            <a:endParaRPr lang="es-es" dirty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57E0E44-CF33-E4F4-2467-7C38D9813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 dirty="0"/>
              <a:t>3 | Nueva AERO </a:t>
            </a:r>
            <a:r>
              <a:rPr lang="es-es" b="1" i="0" u="none" baseline="0" dirty="0" err="1"/>
              <a:t>Battery</a:t>
            </a:r>
            <a:r>
              <a:rPr lang="es-es" b="0" i="0" u="none" baseline="0" dirty="0"/>
              <a:t>	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6F77DFB-9233-377A-1FD0-A6CFB1946DA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69D84A-0D8F-2C31-0734-A782C4F589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2</a:t>
            </a:fld>
            <a:endParaRPr lang="es-e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D7DAF08-F238-5E49-4E7F-08DFCE0CC6A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0850" y="1424907"/>
            <a:ext cx="4444444" cy="444444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FE7D645-2839-A063-9CC2-46DD512D611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521" y="1501161"/>
            <a:ext cx="4444444" cy="444444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147F8ED-DF1B-1939-0333-7160FF18176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2037" y="1501161"/>
            <a:ext cx="4444444" cy="4444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789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DF9B68-2FE9-4118-7535-BE470A9C3C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0775" y="0"/>
            <a:ext cx="5991224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 algn="l" rtl="0">
              <a:buNone/>
            </a:pPr>
            <a:r>
              <a:rPr lang="es-es" b="0" i="0" u="none" baseline="0"/>
              <a:t>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30684BC-5F19-7305-C844-4EF2A836FBF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5009" y="1310720"/>
            <a:ext cx="3809524" cy="3809524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AD606C3-27D7-F4E5-5351-A55DD3BA0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1632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AD606C3-27D7-F4E5-5351-A55DD3BA0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3A956474-9621-6B7B-1478-89FE2AA2875A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9424" y="1412875"/>
            <a:ext cx="5616576" cy="4860925"/>
          </a:xfrm>
        </p:spPr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400"/>
              </a:spcBef>
              <a:buNone/>
            </a:pPr>
            <a:r>
              <a:rPr lang="es-es" sz="1100" b="0" i="0" u="none" baseline="0" dirty="0">
                <a:latin typeface="+mj-lt"/>
                <a:ea typeface="Roboto Medium" panose="02000000000000000000" pitchFamily="2" charset="0"/>
                <a:cs typeface="Roboto Light"/>
              </a:rPr>
              <a:t>Limpieza ininterrumpida de alto rendimiento</a:t>
            </a:r>
          </a:p>
          <a:p>
            <a:pPr marL="201168" indent="-201168" algn="l" rtl="0">
              <a:lnSpc>
                <a:spcPct val="120000"/>
              </a:lnSpc>
              <a:spcBef>
                <a:spcPts val="400"/>
              </a:spcBef>
            </a:pPr>
            <a:r>
              <a:rPr lang="es-es" sz="1100" b="0" i="0" u="none" baseline="0" dirty="0">
                <a:ea typeface="Roboto Light"/>
                <a:cs typeface="Roboto Light"/>
              </a:rPr>
              <a:t>Sin enchufes, basta con pulsar un botón: El diseño inalámbrico garantiza un funcionamiento sin problemas</a:t>
            </a:r>
          </a:p>
          <a:p>
            <a:pPr marL="201168" indent="-201168" algn="l" rtl="0">
              <a:lnSpc>
                <a:spcPct val="120000"/>
              </a:lnSpc>
              <a:spcBef>
                <a:spcPts val="400"/>
              </a:spcBef>
            </a:pPr>
            <a:r>
              <a:rPr lang="es-es" sz="1100" b="0" i="0" u="none" baseline="0" dirty="0">
                <a:ea typeface="Roboto Light"/>
                <a:cs typeface="Roboto Light"/>
              </a:rPr>
              <a:t>Potencia de succión superior para la máxima eficiencia en condiciones húmedas y secas</a:t>
            </a:r>
          </a:p>
          <a:p>
            <a:pPr marL="201168" indent="-201168" algn="l" rtl="0">
              <a:lnSpc>
                <a:spcPct val="120000"/>
              </a:lnSpc>
              <a:spcBef>
                <a:spcPts val="400"/>
              </a:spcBef>
            </a:pPr>
            <a:r>
              <a:rPr lang="es-es" sz="1100" b="0" i="0" u="none" baseline="0" dirty="0"/>
              <a:t>El sistema de filtro </a:t>
            </a:r>
            <a:r>
              <a:rPr lang="es-es" sz="1100" b="0" i="0" u="none" baseline="0" dirty="0" err="1">
                <a:solidFill>
                  <a:srgbClr val="28313F"/>
                </a:solidFill>
              </a:rPr>
              <a:t>Push&amp;Clean</a:t>
            </a:r>
            <a:r>
              <a:rPr lang="es-es" sz="1100" b="0" i="0" u="none" baseline="0" dirty="0">
                <a:solidFill>
                  <a:srgbClr val="28313F"/>
                </a:solidFill>
              </a:rPr>
              <a:t>™</a:t>
            </a:r>
            <a:r>
              <a:rPr lang="es-es" sz="1100" b="0" i="0" u="none" baseline="0" dirty="0">
                <a:ea typeface="Roboto Light"/>
                <a:cs typeface="Roboto Light"/>
              </a:rPr>
              <a:t> mantiene el máximo rendimiento con un tiempo de inactividad mínimo</a:t>
            </a:r>
          </a:p>
          <a:p>
            <a:pPr marL="0" indent="0" algn="l" rtl="0">
              <a:lnSpc>
                <a:spcPct val="120000"/>
              </a:lnSpc>
              <a:spcBef>
                <a:spcPts val="400"/>
              </a:spcBef>
              <a:buNone/>
            </a:pPr>
            <a:r>
              <a:rPr lang="es-es" sz="1100" b="0" i="0" u="none" baseline="0" dirty="0">
                <a:latin typeface="+mj-lt"/>
                <a:ea typeface="Roboto Light"/>
                <a:cs typeface="Roboto Light"/>
              </a:rPr>
              <a:t>Ligero, fácil de usar e inteligente</a:t>
            </a:r>
          </a:p>
          <a:p>
            <a:pPr marL="201168" indent="-201168" algn="l" rtl="0">
              <a:lnSpc>
                <a:spcPct val="120000"/>
              </a:lnSpc>
              <a:spcBef>
                <a:spcPts val="400"/>
              </a:spcBef>
            </a:pPr>
            <a:r>
              <a:rPr lang="es-es" sz="1100" b="0" i="0" u="none" baseline="0" dirty="0">
                <a:ea typeface="Roboto Light"/>
                <a:cs typeface="Roboto Light"/>
              </a:rPr>
              <a:t>Solo 8,3 kg para un manejo fácil y un funcionamiento sin esfuerzo</a:t>
            </a:r>
          </a:p>
          <a:p>
            <a:pPr marL="201168" indent="-201168" algn="l" rtl="0">
              <a:lnSpc>
                <a:spcPct val="120000"/>
              </a:lnSpc>
              <a:spcBef>
                <a:spcPts val="400"/>
              </a:spcBef>
            </a:pPr>
            <a:r>
              <a:rPr lang="es-es" sz="1100" b="0" i="0" u="none" baseline="0" dirty="0">
                <a:ea typeface="Roboto Light"/>
                <a:cs typeface="Roboto Light"/>
              </a:rPr>
              <a:t>Bajas emisiones de ruido para una limpieza diurna sin molestias</a:t>
            </a:r>
          </a:p>
          <a:p>
            <a:pPr marL="201168" indent="-201168" algn="l" rtl="0">
              <a:lnSpc>
                <a:spcPct val="120000"/>
              </a:lnSpc>
              <a:spcBef>
                <a:spcPts val="400"/>
              </a:spcBef>
            </a:pPr>
            <a:r>
              <a:rPr lang="es-es" sz="1100" b="0" i="0" u="none" baseline="0" dirty="0">
                <a:ea typeface="Roboto Light"/>
                <a:cs typeface="Roboto Light"/>
              </a:rPr>
              <a:t>Opción de control remoto por Bluetooth (clase M, con </a:t>
            </a:r>
            <a:r>
              <a:rPr lang="es-es" sz="1100" b="0" i="0" u="none" baseline="0" dirty="0" err="1">
                <a:ea typeface="Roboto Light"/>
                <a:cs typeface="Roboto Light"/>
              </a:rPr>
              <a:t>AutoSense</a:t>
            </a:r>
            <a:r>
              <a:rPr lang="es-es" sz="1100" b="0" i="0" u="none" baseline="0" dirty="0">
                <a:ea typeface="Roboto Light"/>
                <a:cs typeface="Roboto Light"/>
              </a:rPr>
              <a:t> para una mayor seguridad y eficiencia)</a:t>
            </a:r>
          </a:p>
          <a:p>
            <a:pPr marL="0" indent="0" algn="l" rtl="0">
              <a:lnSpc>
                <a:spcPct val="120000"/>
              </a:lnSpc>
              <a:spcBef>
                <a:spcPts val="400"/>
              </a:spcBef>
              <a:buNone/>
            </a:pPr>
            <a:r>
              <a:rPr lang="es-es" sz="1100" b="0" i="0" u="none" baseline="0" dirty="0">
                <a:latin typeface="+mj-lt"/>
                <a:ea typeface="Roboto Light"/>
                <a:cs typeface="Roboto Light"/>
              </a:rPr>
              <a:t>Durabilidad y resistencia inigualables</a:t>
            </a:r>
          </a:p>
          <a:p>
            <a:pPr marL="201168" indent="-201168" algn="l" rtl="0">
              <a:lnSpc>
                <a:spcPct val="120000"/>
              </a:lnSpc>
              <a:spcBef>
                <a:spcPts val="400"/>
              </a:spcBef>
            </a:pPr>
            <a:r>
              <a:rPr lang="es-es" sz="1100" b="0" i="0" u="none" baseline="0" dirty="0">
                <a:ea typeface="Roboto Light"/>
                <a:cs typeface="Roboto Light"/>
              </a:rPr>
              <a:t>La mejor batería de su clase: +500 ciclos de carga con una autonomía líder en la industria</a:t>
            </a:r>
            <a:endParaRPr lang="es-es" sz="1100" dirty="0">
              <a:ea typeface="Roboto Light"/>
              <a:cs typeface="Roboto Light"/>
            </a:endParaRPr>
          </a:p>
          <a:p>
            <a:pPr marL="201168" indent="-201168" algn="l" rtl="0">
              <a:lnSpc>
                <a:spcPct val="120000"/>
              </a:lnSpc>
              <a:spcBef>
                <a:spcPts val="400"/>
              </a:spcBef>
            </a:pPr>
            <a:r>
              <a:rPr lang="es-es" sz="1100" b="0" i="0" u="none" baseline="0" dirty="0">
                <a:ea typeface="Roboto Light"/>
                <a:cs typeface="Roboto Light"/>
              </a:rPr>
              <a:t>Su resistente turbina soporta un uso intensivo con un mantenimiento mínimo</a:t>
            </a:r>
            <a:endParaRPr lang="es-es" sz="1100" dirty="0">
              <a:ea typeface="Roboto Light"/>
              <a:cs typeface="Roboto Light"/>
            </a:endParaRPr>
          </a:p>
          <a:p>
            <a:pPr marL="201168" indent="-201168" algn="l" rtl="0">
              <a:lnSpc>
                <a:spcPct val="120000"/>
              </a:lnSpc>
              <a:spcBef>
                <a:spcPts val="400"/>
              </a:spcBef>
            </a:pPr>
            <a:r>
              <a:rPr lang="es-es" sz="1100" b="0" i="0" u="none" baseline="0" dirty="0">
                <a:ea typeface="Roboto Light"/>
                <a:cs typeface="Roboto Light"/>
              </a:rPr>
              <a:t>Fiabilidad demostrada mediante rigurosas pruebas de campo y de laboratorio</a:t>
            </a:r>
            <a:endParaRPr lang="es-es" sz="1100" dirty="0">
              <a:ea typeface="Roboto Light"/>
              <a:cs typeface="Roboto Light"/>
            </a:endParaRPr>
          </a:p>
          <a:p>
            <a:pPr marL="0" indent="0" algn="l" rtl="0">
              <a:lnSpc>
                <a:spcPct val="120000"/>
              </a:lnSpc>
              <a:spcBef>
                <a:spcPts val="400"/>
              </a:spcBef>
              <a:buNone/>
            </a:pPr>
            <a:r>
              <a:rPr lang="es-es" sz="1100" b="0" i="0" u="none" baseline="0" dirty="0">
                <a:latin typeface="+mj-lt"/>
                <a:ea typeface="Roboto Light"/>
                <a:cs typeface="Roboto Light"/>
              </a:rPr>
              <a:t>Un entorno de trabajo más seguro y limpio</a:t>
            </a:r>
          </a:p>
          <a:p>
            <a:pPr marL="201168" indent="-201168" algn="l" rtl="0">
              <a:lnSpc>
                <a:spcPct val="120000"/>
              </a:lnSpc>
              <a:spcBef>
                <a:spcPts val="400"/>
              </a:spcBef>
            </a:pPr>
            <a:r>
              <a:rPr lang="es-es" sz="1100" b="0" i="0" u="none" baseline="0" dirty="0">
                <a:ea typeface="Roboto Light"/>
                <a:cs typeface="Roboto Light"/>
              </a:rPr>
              <a:t>Certificado para los más altos estándares de seguridad contra el polvo peligroso</a:t>
            </a:r>
            <a:endParaRPr lang="es-es" sz="1100" dirty="0">
              <a:ea typeface="Roboto Light"/>
              <a:cs typeface="Roboto Light"/>
            </a:endParaRPr>
          </a:p>
          <a:p>
            <a:pPr marL="201168" indent="-201168" algn="l" rtl="0">
              <a:lnSpc>
                <a:spcPct val="120000"/>
              </a:lnSpc>
              <a:spcBef>
                <a:spcPts val="400"/>
              </a:spcBef>
            </a:pPr>
            <a:r>
              <a:rPr lang="es-es" sz="1100" b="0" i="0" u="none" baseline="0" dirty="0">
                <a:ea typeface="Roboto Light"/>
                <a:cs typeface="Roboto Light"/>
              </a:rPr>
              <a:t>El filtro PET eficiente y el diseño de flujo de aire reducen las partículas en suspensión</a:t>
            </a:r>
            <a:endParaRPr lang="es-es" sz="1100" dirty="0">
              <a:ea typeface="Roboto Light"/>
              <a:cs typeface="Roboto Light"/>
            </a:endParaRPr>
          </a:p>
          <a:p>
            <a:pPr marL="201168" indent="-201168" algn="l" rtl="0">
              <a:lnSpc>
                <a:spcPct val="120000"/>
              </a:lnSpc>
              <a:spcBef>
                <a:spcPts val="400"/>
              </a:spcBef>
            </a:pPr>
            <a:r>
              <a:rPr lang="es-es" sz="1100" b="0" i="0" u="none" baseline="0" dirty="0">
                <a:ea typeface="Roboto Light"/>
                <a:cs typeface="Roboto Light"/>
              </a:rPr>
              <a:t>El funcionamiento sin cables elimina los riesgos de tropiezos y mejora la movilidad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88DF0AA0-C277-8BB5-B7C5-5BAE76D4979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4D039D0-9C89-4647-C69B-D9A444FACF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3</a:t>
            </a:fld>
            <a:endParaRPr lang="es-e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AD6F595-297F-2A04-A4E4-5FCD1D7B15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es-es" b="0" i="0" u="none" baseline="0">
                <a:ea typeface="Roboto Light"/>
              </a:rPr>
              <a:t>LightIVac único: principales propuestas únicas de venta</a:t>
            </a:r>
            <a:endParaRPr lang="es-es" dirty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416633A5-6408-E355-2A34-0B5CC43A4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 dirty="0"/>
              <a:t>3 | Aspectos destacados del AERO B</a:t>
            </a:r>
            <a:endParaRPr lang="es-es" dirty="0"/>
          </a:p>
        </p:txBody>
      </p:sp>
      <p:cxnSp>
        <p:nvCxnSpPr>
          <p:cNvPr id="3" name="Google Shape;117;p28">
            <a:extLst>
              <a:ext uri="{FF2B5EF4-FFF2-40B4-BE49-F238E27FC236}">
                <a16:creationId xmlns:a16="http://schemas.microsoft.com/office/drawing/2014/main" id="{5BA5DD7F-394A-1A9C-AC70-76DD8842D692}"/>
              </a:ext>
            </a:extLst>
          </p:cNvPr>
          <p:cNvCxnSpPr/>
          <p:nvPr/>
        </p:nvCxnSpPr>
        <p:spPr>
          <a:xfrm rot="10800000" flipH="1">
            <a:off x="9189931" y="4226834"/>
            <a:ext cx="1351880" cy="674991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5" name="Google Shape;118;p28">
            <a:extLst>
              <a:ext uri="{FF2B5EF4-FFF2-40B4-BE49-F238E27FC236}">
                <a16:creationId xmlns:a16="http://schemas.microsoft.com/office/drawing/2014/main" id="{779D62AF-951F-80F4-36DE-1723B6E43370}"/>
              </a:ext>
            </a:extLst>
          </p:cNvPr>
          <p:cNvCxnSpPr>
            <a:cxnSpLocks/>
          </p:cNvCxnSpPr>
          <p:nvPr/>
        </p:nvCxnSpPr>
        <p:spPr>
          <a:xfrm>
            <a:off x="10541811" y="1766233"/>
            <a:ext cx="20200" cy="246060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8" name="Google Shape;119;p28">
            <a:extLst>
              <a:ext uri="{FF2B5EF4-FFF2-40B4-BE49-F238E27FC236}">
                <a16:creationId xmlns:a16="http://schemas.microsoft.com/office/drawing/2014/main" id="{B9E38E97-2225-527F-FD57-18080A174C34}"/>
              </a:ext>
            </a:extLst>
          </p:cNvPr>
          <p:cNvCxnSpPr>
            <a:cxnSpLocks/>
          </p:cNvCxnSpPr>
          <p:nvPr/>
        </p:nvCxnSpPr>
        <p:spPr>
          <a:xfrm>
            <a:off x="7612798" y="4226833"/>
            <a:ext cx="1577371" cy="675071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9" name="Google Shape;120;p28">
            <a:extLst>
              <a:ext uri="{FF2B5EF4-FFF2-40B4-BE49-F238E27FC236}">
                <a16:creationId xmlns:a16="http://schemas.microsoft.com/office/drawing/2014/main" id="{5F45B4EA-9522-CA68-485C-7ABAD569B40C}"/>
              </a:ext>
            </a:extLst>
          </p:cNvPr>
          <p:cNvSpPr/>
          <p:nvPr/>
        </p:nvSpPr>
        <p:spPr>
          <a:xfrm rot="21598889">
            <a:off x="9758284" y="4507555"/>
            <a:ext cx="1467145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200" b="0" i="0" u="none" baseline="0">
                <a:ea typeface="Poppins"/>
                <a:cs typeface="Poppins"/>
                <a:sym typeface="Poppins"/>
              </a:rPr>
              <a:t>392 mm</a:t>
            </a:r>
            <a:endParaRPr sz="1200" dirty="0">
              <a:ea typeface="Poppins"/>
              <a:cs typeface="Poppins"/>
              <a:sym typeface="Poppins"/>
            </a:endParaRPr>
          </a:p>
        </p:txBody>
      </p:sp>
      <p:sp>
        <p:nvSpPr>
          <p:cNvPr id="11" name="Google Shape;121;p28">
            <a:extLst>
              <a:ext uri="{FF2B5EF4-FFF2-40B4-BE49-F238E27FC236}">
                <a16:creationId xmlns:a16="http://schemas.microsoft.com/office/drawing/2014/main" id="{4EAE4697-DD27-DDD8-769A-6D07DA8E0866}"/>
              </a:ext>
            </a:extLst>
          </p:cNvPr>
          <p:cNvSpPr/>
          <p:nvPr/>
        </p:nvSpPr>
        <p:spPr>
          <a:xfrm>
            <a:off x="7301537" y="4507318"/>
            <a:ext cx="1147475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200" b="0" i="0" u="none" baseline="0">
                <a:ea typeface="Poppins"/>
                <a:cs typeface="Poppins"/>
                <a:sym typeface="Poppins"/>
              </a:rPr>
              <a:t>375 mm</a:t>
            </a:r>
            <a:endParaRPr sz="1200" dirty="0">
              <a:ea typeface="Poppins"/>
              <a:cs typeface="Poppins"/>
              <a:sym typeface="Poppins"/>
            </a:endParaRPr>
          </a:p>
        </p:txBody>
      </p:sp>
      <p:sp>
        <p:nvSpPr>
          <p:cNvPr id="13" name="Google Shape;122;p28">
            <a:extLst>
              <a:ext uri="{FF2B5EF4-FFF2-40B4-BE49-F238E27FC236}">
                <a16:creationId xmlns:a16="http://schemas.microsoft.com/office/drawing/2014/main" id="{31F68851-BF78-7AA1-B802-708458D6A3BA}"/>
              </a:ext>
            </a:extLst>
          </p:cNvPr>
          <p:cNvSpPr/>
          <p:nvPr/>
        </p:nvSpPr>
        <p:spPr>
          <a:xfrm rot="21598889">
            <a:off x="10562084" y="2769213"/>
            <a:ext cx="1077335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200" b="0" i="0" u="none" baseline="0">
                <a:ea typeface="Poppins"/>
                <a:cs typeface="Poppins"/>
                <a:sym typeface="Poppins"/>
              </a:rPr>
              <a:t>530 mm</a:t>
            </a:r>
          </a:p>
        </p:txBody>
      </p:sp>
    </p:spTree>
    <p:extLst>
      <p:ext uri="{BB962C8B-B14F-4D97-AF65-F5344CB8AC3E}">
        <p14:creationId xmlns:p14="http://schemas.microsoft.com/office/powerpoint/2010/main" val="3727346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115F78-FB12-3818-5BC9-C9C6EBF581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1317E8CE-BC0A-BCE4-DB4A-358DDCB6FA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4947452"/>
              </p:ext>
            </p:extLst>
          </p:nvPr>
        </p:nvGraphicFramePr>
        <p:xfrm>
          <a:off x="390936" y="1062105"/>
          <a:ext cx="11233150" cy="55000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78249">
                  <a:extLst>
                    <a:ext uri="{9D8B030D-6E8A-4147-A177-3AD203B41FA5}">
                      <a16:colId xmlns:a16="http://schemas.microsoft.com/office/drawing/2014/main" val="3275750068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836064217"/>
                    </a:ext>
                  </a:extLst>
                </a:gridCol>
                <a:gridCol w="1227282">
                  <a:extLst>
                    <a:ext uri="{9D8B030D-6E8A-4147-A177-3AD203B41FA5}">
                      <a16:colId xmlns:a16="http://schemas.microsoft.com/office/drawing/2014/main" val="1414140013"/>
                    </a:ext>
                  </a:extLst>
                </a:gridCol>
                <a:gridCol w="1762510">
                  <a:extLst>
                    <a:ext uri="{9D8B030D-6E8A-4147-A177-3AD203B41FA5}">
                      <a16:colId xmlns:a16="http://schemas.microsoft.com/office/drawing/2014/main" val="3015747701"/>
                    </a:ext>
                  </a:extLst>
                </a:gridCol>
                <a:gridCol w="3289781">
                  <a:extLst>
                    <a:ext uri="{9D8B030D-6E8A-4147-A177-3AD203B41FA5}">
                      <a16:colId xmlns:a16="http://schemas.microsoft.com/office/drawing/2014/main" val="2081704966"/>
                    </a:ext>
                  </a:extLst>
                </a:gridCol>
                <a:gridCol w="518103">
                  <a:extLst>
                    <a:ext uri="{9D8B030D-6E8A-4147-A177-3AD203B41FA5}">
                      <a16:colId xmlns:a16="http://schemas.microsoft.com/office/drawing/2014/main" val="1323545143"/>
                    </a:ext>
                  </a:extLst>
                </a:gridCol>
              </a:tblGrid>
              <a:tr h="188982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endParaRPr lang="es-e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B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B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B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B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5057838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Técnicas</a:t>
                      </a:r>
                      <a:r>
                        <a:rPr lang="es-es" sz="800" b="1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 </a:t>
                      </a:r>
                      <a:endParaRPr lang="es-es" sz="800" b="1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Descripción</a:t>
                      </a:r>
                      <a:endParaRPr lang="es-es" sz="800" b="1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 Nota</a:t>
                      </a:r>
                      <a:endParaRPr lang="es-es" sz="800" b="1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AERO 21B-0L PC BP36V Versión de la UE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AERO 21B-W0M PC BP 36V Versión de la UE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352457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107419700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107419701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40788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Tensión/Frecuencia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V/Hz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290445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Clase de protección/Protección IP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I / IPX4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I / IPX4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9958618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Potencia nominal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W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95020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Flujo de aire (máx., medido en la turbina)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l/s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</a:t>
                      </a:r>
                      <a:endParaRPr lang="es-e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74696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Flujo de aire (máx., medido en la turbina)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l/min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6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6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05609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Flujo de aire (máx., medido en la turbina)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m³/h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9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9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01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Flujo de aire (máx., medido en la turbina)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CFM (pies cúbicos por minuto)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9</a:t>
                      </a:r>
                      <a:endParaRPr lang="es-e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9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85363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Aspiración (máx.)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kPa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,5</a:t>
                      </a:r>
                      <a:endParaRPr lang="es-e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,5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4387665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Aspiración (máx.)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hPa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5</a:t>
                      </a:r>
                      <a:endParaRPr lang="es-e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5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315629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Aspiración (máx.)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pulgadas de columna de agua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011838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Potencia de succión 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W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229912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Nivel de presión sonora a 1 m a potencia nominal (LpA)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dB (A)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8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8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581137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Nivel de ruido en funcionamiento a 3 m a la potencia nominal (presión de trabajo)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dB (A)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790872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Autonomía de hasta NBP60 / NBP100 </a:t>
                      </a:r>
                      <a:endParaRPr lang="es-es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min.</a:t>
                      </a:r>
                      <a:endParaRPr lang="es-es" sz="8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 (6 Ah)</a:t>
                      </a:r>
                      <a:br>
                        <a:rPr lang="es-e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s-es" sz="800" b="0" i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 (10 Ah)</a:t>
                      </a:r>
                      <a:br>
                        <a:rPr lang="es-e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s-es" sz="800" b="0" i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 (10 Ah en modo ECO)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 (6 Ah)</a:t>
                      </a:r>
                      <a:br>
                        <a:rPr lang="es-es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 (10 Ah)</a:t>
                      </a:r>
                    </a:p>
                  </a:txBody>
                  <a:tcPr marL="6350" marR="6350" marT="6350" marB="0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785440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Capacidad</a:t>
                      </a:r>
                      <a:endParaRPr lang="es-es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l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4638862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Recipiente 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ástico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ástico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4179190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Temperatura máx. de trabajo permitida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°C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49708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Peso (máquina)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kg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Solo la máquina</a:t>
                      </a:r>
                      <a:endParaRPr lang="es-es" sz="8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1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b="0" i="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644454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Dimensiones (L x An x Al)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mm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7 x 378 x 485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7 x 378 x 485 mm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endParaRPr lang="es-e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650646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Sistema de filtrado</a:t>
                      </a:r>
                      <a:endParaRPr lang="es-e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6740172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Clase de polvo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l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151707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Sistema de limpieza de filtros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PushClean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PushClean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7461992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Cartucho de filtro D185x140 PET clase M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endParaRPr lang="es-e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2953710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Superficie filtrante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3000 m²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3000 m²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352315"/>
                  </a:ext>
                </a:extLst>
              </a:tr>
            </a:tbl>
          </a:graphicData>
        </a:graphic>
      </p:graphicFrame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4715B4-8DBB-E360-AF13-E546E617D9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E4715B4-8DBB-E360-AF13-E546E617D9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E6F5C5B-E514-1A62-3E77-EC0F3210A1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Especificaciones técnicas de la gama de baterías AERO</a:t>
            </a:r>
            <a:endParaRPr lang="es-es" dirty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3B6F8F0-19F7-02D1-2DE0-5667E6421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/>
              <a:t>3 | Nuevo aspirador con batería</a:t>
            </a:r>
            <a:endParaRPr lang="es-e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EC5298-D34E-1528-DD86-F9A9561407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4C957B-6E08-F601-8721-84892CD1AB5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4011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603414-D1B4-4530-3E41-8581EE44C6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781DE3E-A3FD-4DF6-E64D-B0B500025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8785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781DE3E-A3FD-4DF6-E64D-B0B500025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D8F4A3-75ED-EA45-83A2-97E32E6827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Especificaciones técnicas de la gama de baterías AERO</a:t>
            </a:r>
            <a:endParaRPr lang="es-es" dirty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8DC875C-9896-AED1-A442-192D14E3F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/>
              <a:t>3 | Nuevo aspirador con batería</a:t>
            </a:r>
            <a:endParaRPr lang="es-e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944EDA2-A964-37C1-EB0C-20B835D79F2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46BBDF-9444-B586-FD5C-162F741DF6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5</a:t>
            </a:fld>
            <a:endParaRPr lang="es-es"/>
          </a:p>
        </p:txBody>
      </p:sp>
      <p:graphicFrame>
        <p:nvGraphicFramePr>
          <p:cNvPr id="5" name="Tabelle 3">
            <a:extLst>
              <a:ext uri="{FF2B5EF4-FFF2-40B4-BE49-F238E27FC236}">
                <a16:creationId xmlns:a16="http://schemas.microsoft.com/office/drawing/2014/main" id="{9699B0FC-3667-02FE-F538-FF2784706D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729300"/>
              </p:ext>
            </p:extLst>
          </p:nvPr>
        </p:nvGraphicFramePr>
        <p:xfrm>
          <a:off x="479426" y="1413164"/>
          <a:ext cx="11233150" cy="30972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78249">
                  <a:extLst>
                    <a:ext uri="{9D8B030D-6E8A-4147-A177-3AD203B41FA5}">
                      <a16:colId xmlns:a16="http://schemas.microsoft.com/office/drawing/2014/main" val="3275750068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836064217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1414140013"/>
                    </a:ext>
                  </a:extLst>
                </a:gridCol>
                <a:gridCol w="3000952">
                  <a:extLst>
                    <a:ext uri="{9D8B030D-6E8A-4147-A177-3AD203B41FA5}">
                      <a16:colId xmlns:a16="http://schemas.microsoft.com/office/drawing/2014/main" val="3015747701"/>
                    </a:ext>
                  </a:extLst>
                </a:gridCol>
                <a:gridCol w="2290618">
                  <a:extLst>
                    <a:ext uri="{9D8B030D-6E8A-4147-A177-3AD203B41FA5}">
                      <a16:colId xmlns:a16="http://schemas.microsoft.com/office/drawing/2014/main" val="2081704966"/>
                    </a:ext>
                  </a:extLst>
                </a:gridCol>
                <a:gridCol w="601231">
                  <a:extLst>
                    <a:ext uri="{9D8B030D-6E8A-4147-A177-3AD203B41FA5}">
                      <a16:colId xmlns:a16="http://schemas.microsoft.com/office/drawing/2014/main" val="1323545143"/>
                    </a:ext>
                  </a:extLst>
                </a:gridCol>
              </a:tblGrid>
              <a:tr h="17974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endParaRPr lang="es-e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UE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5057838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Características</a:t>
                      </a:r>
                      <a:r>
                        <a:rPr lang="es-es" sz="800" b="1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 </a:t>
                      </a:r>
                      <a:endParaRPr lang="es-es" sz="800" b="1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Descripción</a:t>
                      </a:r>
                      <a:endParaRPr lang="es-es" sz="800" b="1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 Nota</a:t>
                      </a:r>
                      <a:endParaRPr lang="es-es" sz="800" b="1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AERO 21B-0L PC BP36V Versión de la UE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AERO 21B-W0M PCBP 36V Versión de la UE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352457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107419700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107419701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40788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Control remoto Bluetooth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290445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AutoSense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9958618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Arranque/parada automáticos para herramientas eléctricas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95020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PushClean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74696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Flotador como disparador del nivel de líquido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05609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Tapón de entrada de la manguera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01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Asa de elevación del contenedor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85363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Correa de goma para guardar el cable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4387665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Tubo de estacionamiento de 2 puntos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315629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Sin cables</a:t>
                      </a:r>
                      <a:endParaRPr lang="es-es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011838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Modo silencioso: modo de potencia extra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(Velocidad doble)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229912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Estacionamiento del tubo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581137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Barra de ruedas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790872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Bolsas para el polvo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-P</a:t>
                      </a:r>
                      <a:endParaRPr lang="es-es" sz="8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buNone/>
                      </a:pPr>
                      <a:r>
                        <a:rPr lang="es-es" sz="8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1-P</a:t>
                      </a:r>
                      <a:endParaRPr lang="es-es" sz="8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buNone/>
                      </a:pPr>
                      <a:endParaRPr lang="es-es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78544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403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D91ED4-1FD7-F0DF-1888-1EE6ED6954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A8DD0CA-745A-D36B-1CBF-9BC740DCAA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A8DD0CA-745A-D36B-1CBF-9BC740DCAA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89686B-6B63-4E9A-1BBB-6C16C859F1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Especificaciones técnicas de la gama de baterías AERO</a:t>
            </a:r>
            <a:endParaRPr lang="es-es" dirty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A3817F7-B078-C7B8-50B5-5BED35583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/>
              <a:t>3 | Nuevo aspirador con batería</a:t>
            </a:r>
            <a:endParaRPr lang="es-e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0373DC-531A-415D-261A-B555FC37DAB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54F5E3-88DF-B227-EA8C-C7F118DC58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6</a:t>
            </a:fld>
            <a:endParaRPr lang="es-es"/>
          </a:p>
        </p:txBody>
      </p:sp>
      <p:graphicFrame>
        <p:nvGraphicFramePr>
          <p:cNvPr id="5" name="Tabelle 3">
            <a:extLst>
              <a:ext uri="{FF2B5EF4-FFF2-40B4-BE49-F238E27FC236}">
                <a16:creationId xmlns:a16="http://schemas.microsoft.com/office/drawing/2014/main" id="{F8AA7EC4-B40E-37C3-366E-DFE4E2D507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0935926"/>
              </p:ext>
            </p:extLst>
          </p:nvPr>
        </p:nvGraphicFramePr>
        <p:xfrm>
          <a:off x="475521" y="1261890"/>
          <a:ext cx="11233150" cy="49292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82899">
                  <a:extLst>
                    <a:ext uri="{9D8B030D-6E8A-4147-A177-3AD203B41FA5}">
                      <a16:colId xmlns:a16="http://schemas.microsoft.com/office/drawing/2014/main" val="3275750068"/>
                    </a:ext>
                  </a:extLst>
                </a:gridCol>
                <a:gridCol w="1552575">
                  <a:extLst>
                    <a:ext uri="{9D8B030D-6E8A-4147-A177-3AD203B41FA5}">
                      <a16:colId xmlns:a16="http://schemas.microsoft.com/office/drawing/2014/main" val="836064217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1414140013"/>
                    </a:ext>
                  </a:extLst>
                </a:gridCol>
                <a:gridCol w="3194916">
                  <a:extLst>
                    <a:ext uri="{9D8B030D-6E8A-4147-A177-3AD203B41FA5}">
                      <a16:colId xmlns:a16="http://schemas.microsoft.com/office/drawing/2014/main" val="3015747701"/>
                    </a:ext>
                  </a:extLst>
                </a:gridCol>
                <a:gridCol w="2152073">
                  <a:extLst>
                    <a:ext uri="{9D8B030D-6E8A-4147-A177-3AD203B41FA5}">
                      <a16:colId xmlns:a16="http://schemas.microsoft.com/office/drawing/2014/main" val="2081704966"/>
                    </a:ext>
                  </a:extLst>
                </a:gridCol>
                <a:gridCol w="545812">
                  <a:extLst>
                    <a:ext uri="{9D8B030D-6E8A-4147-A177-3AD203B41FA5}">
                      <a16:colId xmlns:a16="http://schemas.microsoft.com/office/drawing/2014/main" val="1323545143"/>
                    </a:ext>
                  </a:extLst>
                </a:gridCol>
              </a:tblGrid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endParaRPr lang="es-e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UE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5057838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Accesorios</a:t>
                      </a:r>
                      <a:r>
                        <a:rPr lang="es-es" sz="800" b="1" i="0" u="none" strike="noStrike" baseline="0" dirty="0"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 </a:t>
                      </a:r>
                      <a:endParaRPr lang="es-es" sz="800" b="1" i="0" u="none" strike="noStrike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800" b="1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1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AERO 21B-0L PC BP36V Versión de la UE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AERO 21B-W0M PCBP 36V Versión de la UE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352457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107419700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107419701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40788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Tubos de extensión</a:t>
                      </a:r>
                      <a:endParaRPr lang="es-es" sz="800" b="1" i="0" u="none" strike="noStrike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290445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Tubo externo acero D35x505mm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>
                          <a:effectLst/>
                        </a:rPr>
                        <a:t>302000529</a:t>
                      </a: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baseline="0" dirty="0">
                        <a:effectLst/>
                        <a:latin typeface="+mn-lt"/>
                        <a:ea typeface="+mn-lt"/>
                        <a:cs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9958618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Kit de soporte de tubo Ø35 (gancho que incluye tornillo)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07407190</a:t>
                      </a:r>
                      <a:endParaRPr lang="es-es" sz="8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baseline="0" dirty="0">
                        <a:effectLst/>
                        <a:latin typeface="+mn-lt"/>
                        <a:ea typeface="+mn-lt"/>
                        <a:cs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95020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Mangueras de aspiración</a:t>
                      </a:r>
                      <a:endParaRPr lang="es-es" sz="800" b="1" i="0" u="none" strike="noStrike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74696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Manguera de aspiración de alta gama D32x3500 CPL gris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302002364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baseline="0" dirty="0">
                        <a:effectLst/>
                        <a:latin typeface="+mn-lt"/>
                        <a:ea typeface="+mn-lt"/>
                        <a:cs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05609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Manguera de aspiración D32x1800 CPL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302002363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01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Boquillas para suelo </a:t>
                      </a:r>
                      <a:endParaRPr lang="es-es" sz="800" u="none" strike="noStrike" kern="1200" dirty="0">
                        <a:solidFill>
                          <a:schemeClr val="dk1"/>
                        </a:solidFill>
                        <a:effectLst/>
                        <a:latin typeface="Roboto Medium"/>
                        <a:ea typeface="Roboto Medium"/>
                        <a:cs typeface="+mn-cs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85363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Boquilla para suelo D36 W/D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07402331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4387665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Otros accesorios</a:t>
                      </a:r>
                      <a:endParaRPr lang="es-es" sz="800" u="none" strike="noStrike" kern="1200" dirty="0">
                        <a:solidFill>
                          <a:schemeClr val="dk1"/>
                        </a:solidFill>
                        <a:effectLst/>
                        <a:latin typeface="Roboto Medium"/>
                        <a:ea typeface="Roboto Medium"/>
                        <a:cs typeface="+mn-cs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315629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Boquilla universal D36X115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4295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011838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Cepillo de aspiración D36 negro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302002509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baseline="0">
                        <a:effectLst/>
                        <a:latin typeface="+mn-lt"/>
                        <a:ea typeface="+mn-lt"/>
                        <a:cs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229912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Adaptador de herramienta con boquilla de goma</a:t>
                      </a:r>
                      <a:endParaRPr lang="es-es" sz="8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07410036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baseline="0" dirty="0">
                        <a:effectLst/>
                        <a:latin typeface="+mn-lt"/>
                        <a:ea typeface="+mn-lt"/>
                        <a:cs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361905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s-es" sz="800" b="0" i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Batería y cargador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581137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Batería compacta NBP60 36 V Li – 6 Ah 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06479020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baseline="0" dirty="0">
                        <a:effectLst/>
                        <a:latin typeface="+mn-lt"/>
                        <a:ea typeface="+mn-lt"/>
                        <a:cs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790872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Batería compacta NBP100 36 V Li – 10 Ah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06479021</a:t>
                      </a:r>
                      <a:endParaRPr lang="es-es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buNone/>
                      </a:pPr>
                      <a:endParaRPr lang="es-e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785440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Cargador rápido NBC215 de 36 V - Sin cable incluido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06476050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baseline="0">
                        <a:effectLst/>
                        <a:latin typeface="+mn-lt"/>
                        <a:ea typeface="+mn-lt"/>
                        <a:cs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4638862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Cable cargador UE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07424752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 metro de longitud</a:t>
                      </a:r>
                      <a:endParaRPr lang="es-es" sz="8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12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4179190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Cable cargador UK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07424753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 metro de longitud</a:t>
                      </a:r>
                      <a:endParaRPr lang="es-es" sz="8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baseline="0" dirty="0">
                        <a:effectLst/>
                        <a:latin typeface="+mn-lt"/>
                        <a:ea typeface="+mn-lt"/>
                        <a:cs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49708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Cable cargador AU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07424754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 metro de longitud</a:t>
                      </a:r>
                      <a:endParaRPr lang="es-es" sz="8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644454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Cable cargador CN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07424755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 metro de longitud</a:t>
                      </a:r>
                      <a:endParaRPr lang="es-es" sz="8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650646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Cable cargador JP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07424756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 metro de longitud</a:t>
                      </a:r>
                      <a:endParaRPr lang="es-es" sz="8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6740172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  <a:latin typeface="+mn-lt"/>
                          <a:ea typeface="+mn-lt"/>
                          <a:cs typeface="+mn-lt"/>
                        </a:rPr>
                        <a:t>Cable cargador US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07424757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baseline="0" dirty="0">
                          <a:effectLst/>
                        </a:rPr>
                        <a:t>1 metro de longitud</a:t>
                      </a:r>
                      <a:endParaRPr lang="es-es" sz="800" b="0" i="1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15170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4381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8C67F4-132A-F5A0-6211-EA6A05C2A8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3E8DA5-73C7-8FE5-B49A-4C080E5500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s-es" b="1" i="0" u="none" baseline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2718F69-EEB3-8E1D-9CC2-5D902B23A4E2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19044244-6276-0B4A-7CE8-F3C2239B674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7</a:t>
            </a:fld>
            <a:endParaRPr lang="es-es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BBF521C-14B3-DB07-260F-82A6036A26F8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dirty="0">
                <a:solidFill>
                  <a:schemeClr val="bg2"/>
                </a:solidFill>
              </a:rPr>
              <a:t>Introducción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80F2A975-B9D4-0D07-5D1A-45D89DF7E4B1}"/>
              </a:ext>
            </a:extLst>
          </p:cNvPr>
          <p:cNvSpPr txBox="1">
            <a:spLocks/>
          </p:cNvSpPr>
          <p:nvPr/>
        </p:nvSpPr>
        <p:spPr>
          <a:xfrm>
            <a:off x="1968167" y="2222844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 dirty="0">
                <a:solidFill>
                  <a:schemeClr val="bg2"/>
                </a:solidFill>
              </a:rPr>
              <a:t>Segmentos de </a:t>
            </a:r>
            <a:r>
              <a:rPr lang="es-es" dirty="0">
                <a:solidFill>
                  <a:schemeClr val="bg2"/>
                </a:solidFill>
              </a:rPr>
              <a:t>client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4DB87FF1-103B-F79C-425F-B645DE51799B}"/>
              </a:ext>
            </a:extLst>
          </p:cNvPr>
          <p:cNvSpPr txBox="1">
            <a:spLocks/>
          </p:cNvSpPr>
          <p:nvPr/>
        </p:nvSpPr>
        <p:spPr>
          <a:xfrm>
            <a:off x="1968167" y="3064563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>
                <a:solidFill>
                  <a:schemeClr val="bg2"/>
                </a:solidFill>
              </a:rPr>
              <a:t>Nuevo aspirador con batería</a:t>
            </a:r>
            <a:endParaRPr lang="es-es" dirty="0">
              <a:solidFill>
                <a:schemeClr val="bg2"/>
              </a:solidFill>
            </a:endParaRPr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78D48F5E-8080-232A-F14F-85A2B070F950}"/>
              </a:ext>
            </a:extLst>
          </p:cNvPr>
          <p:cNvSpPr txBox="1">
            <a:spLocks/>
          </p:cNvSpPr>
          <p:nvPr/>
        </p:nvSpPr>
        <p:spPr>
          <a:xfrm>
            <a:off x="1968167" y="3906282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/>
              <a:t>Argumentos de venta principa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7DFAADA-CB09-4F1C-3979-090A44F8093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4748001"/>
            <a:ext cx="4018296" cy="698238"/>
          </a:xfrm>
        </p:spPr>
        <p:txBody>
          <a:bodyPr/>
          <a:lstStyle/>
          <a:p>
            <a:pPr algn="l" rtl="0">
              <a:lnSpc>
                <a:spcPct val="120000"/>
              </a:lnSpc>
            </a:pPr>
            <a:r>
              <a:rPr lang="es-es" b="0" i="0" u="none" baseline="0" dirty="0">
                <a:solidFill>
                  <a:schemeClr val="bg2"/>
                </a:solidFill>
              </a:rPr>
              <a:t>Otro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6F4A319B-583F-F569-477F-974A4E8305C1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1</a:t>
            </a:r>
            <a:endParaRPr lang="es-es" dirty="0"/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AE55766F-C90C-E4DD-7FF1-6605C44F9498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2</a:t>
            </a:r>
            <a:endParaRPr lang="es-es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B8FF2E2F-44D2-3445-1861-8540649EE2E3}"/>
              </a:ext>
            </a:extLst>
          </p:cNvPr>
          <p:cNvSpPr txBox="1">
            <a:spLocks/>
          </p:cNvSpPr>
          <p:nvPr/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3</a:t>
            </a:r>
            <a:endParaRPr lang="es-es" dirty="0"/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5E9BA494-0CD2-4A1B-1A0A-A16984F218CF}"/>
              </a:ext>
            </a:extLst>
          </p:cNvPr>
          <p:cNvSpPr txBox="1">
            <a:spLocks/>
          </p:cNvSpPr>
          <p:nvPr/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4</a:t>
            </a:r>
            <a:endParaRPr lang="es-es" dirty="0"/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56F4C55F-DD1A-2D73-3645-34EAC54E60D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4748001"/>
            <a:ext cx="698400" cy="698238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pPr rtl="0"/>
            <a:r>
              <a:rPr lang="es-es" b="1" i="0" u="none" baseline="0"/>
              <a:t>5</a:t>
            </a:r>
          </a:p>
        </p:txBody>
      </p:sp>
      <p:pic>
        <p:nvPicPr>
          <p:cNvPr id="7" name="Picture Placeholder 12">
            <a:extLst>
              <a:ext uri="{FF2B5EF4-FFF2-40B4-BE49-F238E27FC236}">
                <a16:creationId xmlns:a16="http://schemas.microsoft.com/office/drawing/2014/main" id="{CBC8FB95-32E4-BB2C-6AD2-B470396793A8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05539" y="0"/>
            <a:ext cx="5986461" cy="6273800"/>
          </a:xfrm>
        </p:spPr>
      </p:pic>
    </p:spTree>
    <p:extLst>
      <p:ext uri="{BB962C8B-B14F-4D97-AF65-F5344CB8AC3E}">
        <p14:creationId xmlns:p14="http://schemas.microsoft.com/office/powerpoint/2010/main" val="115684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FBE886-3AA9-984A-8257-BBF439B212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03FD3046-D7FD-F510-A2F0-13E84EF2160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317" y="1261890"/>
            <a:ext cx="5079365" cy="5079365"/>
          </a:xfrm>
          <a:prstGeom prst="rect">
            <a:avLst/>
          </a:prstGeom>
        </p:spPr>
      </p:pic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9A25525-48D5-8274-1BFC-C5468C5B7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A25525-48D5-8274-1BFC-C5468C5B7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0ACAF3-D75B-9260-5EA6-6B593A56363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94A70F-5576-DB93-9229-9126168EAE2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8</a:t>
            </a:fld>
            <a:endParaRPr lang="es-e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DB3158-F4D1-2AAC-5A8A-53D6E9D4D3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Argumentos de venta principa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716B101-570D-3E81-4973-136BBA2D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 dirty="0"/>
              <a:t>4 | Características del AERO B</a:t>
            </a:r>
            <a:endParaRPr lang="es-e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2F75969-C502-EAAE-8EBB-113770E85202}"/>
              </a:ext>
            </a:extLst>
          </p:cNvPr>
          <p:cNvSpPr txBox="1"/>
          <p:nvPr/>
        </p:nvSpPr>
        <p:spPr>
          <a:xfrm>
            <a:off x="7934323" y="2264994"/>
            <a:ext cx="3773201" cy="483081"/>
          </a:xfrm>
          <a:prstGeom prst="rect">
            <a:avLst/>
          </a:prstGeom>
          <a:noFill/>
        </p:spPr>
        <p:txBody>
          <a:bodyPr wrap="square" lIns="0" tIns="0" rIns="0" bIns="91440" rtlCol="0" anchor="t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s-es" sz="1100" b="0" i="0" u="none" baseline="0" dirty="0">
                <a:latin typeface="+mj-lt"/>
                <a:ea typeface="+mj-lt"/>
                <a:cs typeface="+mj-lt"/>
              </a:rPr>
              <a:t>Batería - Sistema de gestión de la batería (BMS)</a:t>
            </a:r>
          </a:p>
          <a:p>
            <a:pPr algn="r" rtl="0">
              <a:lnSpc>
                <a:spcPct val="120000"/>
              </a:lnSpc>
            </a:pPr>
            <a:r>
              <a:rPr lang="es-es" sz="1100" b="0" i="0" u="none" baseline="0" dirty="0"/>
              <a:t>Sistema de protección de la batería que controla tensiones, temperaturas, etc.</a:t>
            </a:r>
          </a:p>
        </p:txBody>
      </p:sp>
      <p:cxnSp>
        <p:nvCxnSpPr>
          <p:cNvPr id="29" name="Straight Arrow Connector 88">
            <a:extLst>
              <a:ext uri="{FF2B5EF4-FFF2-40B4-BE49-F238E27FC236}">
                <a16:creationId xmlns:a16="http://schemas.microsoft.com/office/drawing/2014/main" id="{06D90BB0-6F29-8571-95A2-E8B3A0975FE8}"/>
              </a:ext>
            </a:extLst>
          </p:cNvPr>
          <p:cNvCxnSpPr>
            <a:cxnSpLocks/>
          </p:cNvCxnSpPr>
          <p:nvPr/>
        </p:nvCxnSpPr>
        <p:spPr>
          <a:xfrm flipH="1">
            <a:off x="7783033" y="2887279"/>
            <a:ext cx="392954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FD82A76C-EF29-A549-FB79-C04297108DC1}"/>
              </a:ext>
            </a:extLst>
          </p:cNvPr>
          <p:cNvSpPr txBox="1"/>
          <p:nvPr/>
        </p:nvSpPr>
        <p:spPr>
          <a:xfrm>
            <a:off x="475521" y="2371727"/>
            <a:ext cx="3565359" cy="483081"/>
          </a:xfrm>
          <a:prstGeom prst="rect">
            <a:avLst/>
          </a:prstGeom>
          <a:noFill/>
        </p:spPr>
        <p:txBody>
          <a:bodyPr wrap="square" lIns="0" tIns="0" rIns="0" bIns="91440" rtlCol="0" anchor="t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s-es" sz="1100" b="0" i="0" u="none" baseline="0" dirty="0">
                <a:latin typeface="+mj-lt"/>
                <a:ea typeface="+mj-lt"/>
                <a:cs typeface="+mj-lt"/>
              </a:rPr>
              <a:t>Turbina profesional de alta eficiencia</a:t>
            </a:r>
            <a:endParaRPr lang="es-es" sz="1100" dirty="0">
              <a:latin typeface="+mj-lt"/>
            </a:endParaRPr>
          </a:p>
          <a:p>
            <a:pPr algn="l" rtl="0">
              <a:lnSpc>
                <a:spcPct val="120000"/>
              </a:lnSpc>
            </a:pPr>
            <a:r>
              <a:rPr lang="es-es" sz="1100" b="0" i="0" u="none" baseline="0" dirty="0"/>
              <a:t>Con un flujo de aire de 3600 l/min, el mejor rendimiento de su clase</a:t>
            </a:r>
            <a:endParaRPr lang="es-es" sz="1100" dirty="0"/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535D02DF-F2E0-7D05-A09A-09D0CD28E305}"/>
              </a:ext>
            </a:extLst>
          </p:cNvPr>
          <p:cNvCxnSpPr>
            <a:cxnSpLocks/>
          </p:cNvCxnSpPr>
          <p:nvPr/>
        </p:nvCxnSpPr>
        <p:spPr>
          <a:xfrm>
            <a:off x="479425" y="2989616"/>
            <a:ext cx="3674366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AF6B598-A8B9-554D-EA39-B9F8C2797B1A}"/>
              </a:ext>
            </a:extLst>
          </p:cNvPr>
          <p:cNvGrpSpPr/>
          <p:nvPr/>
        </p:nvGrpSpPr>
        <p:grpSpPr>
          <a:xfrm>
            <a:off x="7562850" y="5164097"/>
            <a:ext cx="4144675" cy="686213"/>
            <a:chOff x="7562850" y="5200647"/>
            <a:chExt cx="4144675" cy="68621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DBA1003-CE58-102A-0B79-2B6AB8794B63}"/>
                </a:ext>
              </a:extLst>
            </p:cNvPr>
            <p:cNvSpPr txBox="1"/>
            <p:nvPr/>
          </p:nvSpPr>
          <p:spPr>
            <a:xfrm>
              <a:off x="7934324" y="5200647"/>
              <a:ext cx="3773201" cy="686213"/>
            </a:xfrm>
            <a:prstGeom prst="rect">
              <a:avLst/>
            </a:prstGeom>
            <a:noFill/>
          </p:spPr>
          <p:txBody>
            <a:bodyPr wrap="square" lIns="0" tIns="0" rIns="0" bIns="91440" rtlCol="0" anchor="t" anchorCtr="0">
              <a:spAutoFit/>
            </a:bodyPr>
            <a:lstStyle/>
            <a:p>
              <a:pPr algn="r" rtl="0">
                <a:lnSpc>
                  <a:spcPct val="120000"/>
                </a:lnSpc>
              </a:pPr>
              <a:r>
                <a:rPr lang="es-es" sz="1100" b="0" i="0" u="none" baseline="0">
                  <a:latin typeface="+mj-lt"/>
                  <a:ea typeface="+mj-lt"/>
                  <a:cs typeface="+mj-lt"/>
                </a:rPr>
                <a:t>Libertad sin cables y tamaño reducido</a:t>
              </a:r>
            </a:p>
            <a:p>
              <a:pPr algn="r" rtl="0">
                <a:lnSpc>
                  <a:spcPct val="120000"/>
                </a:lnSpc>
              </a:pPr>
              <a:r>
                <a:rPr lang="es-es" sz="1100" b="0" i="0" u="none" baseline="0"/>
                <a:t>Limpieza sin límites: uso rápido y móvil cuando se necesita urgentemente una alta potencia de succión</a:t>
              </a:r>
              <a:endParaRPr lang="es-es" sz="1100" dirty="0"/>
            </a:p>
          </p:txBody>
        </p:sp>
        <p:cxnSp>
          <p:nvCxnSpPr>
            <p:cNvPr id="52" name="Straight Arrow Connector 88">
              <a:extLst>
                <a:ext uri="{FF2B5EF4-FFF2-40B4-BE49-F238E27FC236}">
                  <a16:creationId xmlns:a16="http://schemas.microsoft.com/office/drawing/2014/main" id="{89994707-09E7-22F9-B085-33EF5AA34A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562850" y="5886860"/>
              <a:ext cx="4144675" cy="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FE3E3F6-3C3E-0AAE-4E58-5D21A35FA962}"/>
              </a:ext>
            </a:extLst>
          </p:cNvPr>
          <p:cNvGrpSpPr/>
          <p:nvPr/>
        </p:nvGrpSpPr>
        <p:grpSpPr>
          <a:xfrm>
            <a:off x="6991350" y="1407811"/>
            <a:ext cx="4716176" cy="686213"/>
            <a:chOff x="6991350" y="1407811"/>
            <a:chExt cx="4716176" cy="686213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5215AB1-8EB5-64CC-1958-6E537A2FFFAB}"/>
                </a:ext>
              </a:extLst>
            </p:cNvPr>
            <p:cNvSpPr txBox="1"/>
            <p:nvPr/>
          </p:nvSpPr>
          <p:spPr>
            <a:xfrm>
              <a:off x="7934325" y="1407811"/>
              <a:ext cx="3773201" cy="686213"/>
            </a:xfrm>
            <a:prstGeom prst="rect">
              <a:avLst/>
            </a:prstGeom>
            <a:noFill/>
          </p:spPr>
          <p:txBody>
            <a:bodyPr wrap="square" lIns="0" tIns="0" rIns="0" bIns="91440" rtlCol="0" anchor="t" anchorCtr="0">
              <a:spAutoFit/>
            </a:bodyPr>
            <a:lstStyle/>
            <a:p>
              <a:pPr algn="r" rtl="0">
                <a:lnSpc>
                  <a:spcPct val="120000"/>
                </a:lnSpc>
              </a:pPr>
              <a:r>
                <a:rPr lang="es-es" sz="1100" b="0" i="0" u="none" baseline="0">
                  <a:latin typeface="+mj-lt"/>
                  <a:ea typeface="+mj-lt"/>
                  <a:cs typeface="+mj-lt"/>
                </a:rPr>
                <a:t>Compartimento protegido de la batería</a:t>
              </a:r>
              <a:br>
                <a:rPr lang="es-es" sz="1100">
                  <a:latin typeface="+mj-lt"/>
                </a:rPr>
              </a:br>
              <a:r>
                <a:rPr lang="es-es" sz="1100" b="0" i="0" u="none" baseline="0"/>
                <a:t>Batería protegida contra el polvo y otras influencias: </a:t>
              </a:r>
              <a:br>
                <a:rPr lang="es-es" sz="1100"/>
              </a:br>
              <a:r>
                <a:rPr lang="es-es" sz="1100" b="0" i="0" u="none" baseline="0"/>
                <a:t>fácil sustitución de la batería</a:t>
              </a:r>
              <a:endParaRPr lang="es-es" sz="1100" dirty="0"/>
            </a:p>
          </p:txBody>
        </p:sp>
        <p:cxnSp>
          <p:nvCxnSpPr>
            <p:cNvPr id="2" name="Straight Arrow Connector 88">
              <a:extLst>
                <a:ext uri="{FF2B5EF4-FFF2-40B4-BE49-F238E27FC236}">
                  <a16:creationId xmlns:a16="http://schemas.microsoft.com/office/drawing/2014/main" id="{43E0BE21-1696-F33D-C780-73F618571ED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91350" y="2092212"/>
              <a:ext cx="4716175" cy="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E98EEF6-FA9A-B13A-075B-7EBD44E826F7}"/>
              </a:ext>
            </a:extLst>
          </p:cNvPr>
          <p:cNvGrpSpPr/>
          <p:nvPr/>
        </p:nvGrpSpPr>
        <p:grpSpPr>
          <a:xfrm>
            <a:off x="475521" y="1423759"/>
            <a:ext cx="3777392" cy="687885"/>
            <a:chOff x="475521" y="1423759"/>
            <a:chExt cx="3777392" cy="687885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53EF17A-9996-61C0-4B92-C655135F2B83}"/>
                </a:ext>
              </a:extLst>
            </p:cNvPr>
            <p:cNvSpPr txBox="1"/>
            <p:nvPr/>
          </p:nvSpPr>
          <p:spPr>
            <a:xfrm>
              <a:off x="475521" y="1423759"/>
              <a:ext cx="3574311" cy="686213"/>
            </a:xfrm>
            <a:prstGeom prst="rect">
              <a:avLst/>
            </a:prstGeom>
            <a:noFill/>
          </p:spPr>
          <p:txBody>
            <a:bodyPr wrap="square" lIns="0" tIns="0" rIns="0" bIns="91440" rtlCol="0" anchor="t" anchorCtr="0">
              <a:spAutoFit/>
            </a:bodyPr>
            <a:lstStyle/>
            <a:p>
              <a:pPr algn="l" rtl="0">
                <a:lnSpc>
                  <a:spcPct val="120000"/>
                </a:lnSpc>
              </a:pPr>
              <a:r>
                <a:rPr lang="es-es" sz="1100" b="0" i="0" u="none" baseline="0">
                  <a:latin typeface="+mj-lt"/>
                  <a:ea typeface="+mj-lt"/>
                  <a:cs typeface="+mj-lt"/>
                </a:rPr>
                <a:t>Nueva batería NBP desarrollada por Nilfisk</a:t>
              </a:r>
              <a:br>
                <a:rPr lang="es-es" sz="1100" b="0" i="0" u="none" strike="noStrike">
                  <a:effectLst/>
                </a:rPr>
              </a:br>
              <a:r>
                <a:rPr lang="es-es" sz="1100" b="0" i="0" u="none" strike="noStrike" baseline="0">
                  <a:effectLst/>
                </a:rPr>
                <a:t>Alto rendimiento y eficiencia con la batería desarrollada por Nilfisk:  hasta 500 ciclos de carga posibles</a:t>
              </a:r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FABD38D7-938A-ADD6-0F28-DFAF9A766C54}"/>
                </a:ext>
              </a:extLst>
            </p:cNvPr>
            <p:cNvCxnSpPr>
              <a:cxnSpLocks/>
            </p:cNvCxnSpPr>
            <p:nvPr/>
          </p:nvCxnSpPr>
          <p:spPr>
            <a:xfrm>
              <a:off x="479425" y="2111644"/>
              <a:ext cx="3773488" cy="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E6498DD1-8076-6B8B-283C-71514CB428A6}"/>
              </a:ext>
            </a:extLst>
          </p:cNvPr>
          <p:cNvSpPr txBox="1"/>
          <p:nvPr/>
        </p:nvSpPr>
        <p:spPr>
          <a:xfrm>
            <a:off x="484476" y="3252092"/>
            <a:ext cx="3563079" cy="483081"/>
          </a:xfrm>
          <a:prstGeom prst="rect">
            <a:avLst/>
          </a:prstGeom>
          <a:noFill/>
        </p:spPr>
        <p:txBody>
          <a:bodyPr wrap="square" lIns="0" tIns="0" rIns="0" bIns="91440" rtlCol="0" anchor="t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s-es" sz="1100" b="0" i="0" u="none" baseline="0" dirty="0">
                <a:latin typeface="+mj-lt"/>
                <a:ea typeface="+mj-lt"/>
                <a:cs typeface="+mj-lt"/>
              </a:rPr>
              <a:t>Puntos de contacto resaltados con color</a:t>
            </a:r>
          </a:p>
          <a:p>
            <a:pPr algn="l" rtl="0">
              <a:lnSpc>
                <a:spcPct val="120000"/>
              </a:lnSpc>
            </a:pPr>
            <a:r>
              <a:rPr lang="es-es" sz="1100" b="0" i="0" u="none" baseline="0" dirty="0"/>
              <a:t>La interfaz de usuario intuitiva garantiza un funcionamiento sin problemas</a:t>
            </a:r>
            <a:endParaRPr lang="es-es" sz="1100" dirty="0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DC66CAA1-76AD-06F1-A721-8A15226A32A9}"/>
              </a:ext>
            </a:extLst>
          </p:cNvPr>
          <p:cNvCxnSpPr>
            <a:cxnSpLocks/>
          </p:cNvCxnSpPr>
          <p:nvPr/>
        </p:nvCxnSpPr>
        <p:spPr>
          <a:xfrm>
            <a:off x="479425" y="3882030"/>
            <a:ext cx="3353155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87EDF79-AD05-1A84-4980-DC65432EE981}"/>
              </a:ext>
            </a:extLst>
          </p:cNvPr>
          <p:cNvGrpSpPr/>
          <p:nvPr/>
        </p:nvGrpSpPr>
        <p:grpSpPr>
          <a:xfrm>
            <a:off x="475521" y="4192754"/>
            <a:ext cx="3811366" cy="686213"/>
            <a:chOff x="475521" y="4240379"/>
            <a:chExt cx="3811366" cy="686213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4E3A445-67D5-E91E-35FB-7EF4EE38B98F}"/>
                </a:ext>
              </a:extLst>
            </p:cNvPr>
            <p:cNvSpPr txBox="1"/>
            <p:nvPr/>
          </p:nvSpPr>
          <p:spPr>
            <a:xfrm>
              <a:off x="475521" y="4240379"/>
              <a:ext cx="3563079" cy="686213"/>
            </a:xfrm>
            <a:prstGeom prst="rect">
              <a:avLst/>
            </a:prstGeom>
            <a:noFill/>
          </p:spPr>
          <p:txBody>
            <a:bodyPr wrap="square" lIns="0" tIns="0" rIns="0" bIns="91440" rtlCol="0" anchor="t" anchorCtr="0">
              <a:spAutoFit/>
            </a:bodyPr>
            <a:lstStyle/>
            <a:p>
              <a:pPr algn="l" rtl="0">
                <a:lnSpc>
                  <a:spcPct val="120000"/>
                </a:lnSpc>
              </a:pPr>
              <a:r>
                <a:rPr lang="es-es" sz="1100" b="0" i="0" u="none" baseline="0">
                  <a:latin typeface="+mj-lt"/>
                  <a:ea typeface="+mj-lt"/>
                  <a:cs typeface="+mj-lt"/>
                </a:rPr>
                <a:t>Ruido de funcionamiento muy silencioso y agradable</a:t>
              </a:r>
            </a:p>
            <a:p>
              <a:pPr algn="l" rtl="0">
                <a:lnSpc>
                  <a:spcPct val="120000"/>
                </a:lnSpc>
              </a:pPr>
              <a:r>
                <a:rPr lang="es-es" sz="1100" b="0" i="0" u="none" baseline="0"/>
                <a:t>Permite la limpieza en zonas sensibles al ruido y </a:t>
              </a:r>
              <a:br>
                <a:rPr lang="es-es" sz="1100"/>
              </a:br>
              <a:r>
                <a:rPr lang="es-es" sz="1100" b="0" i="0" u="none" baseline="0"/>
                <a:t>durante el día</a:t>
              </a:r>
              <a:endParaRPr lang="es-es" sz="1100" dirty="0"/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8AACEE0A-DFAE-A535-AE24-AFFF42A8A611}"/>
                </a:ext>
              </a:extLst>
            </p:cNvPr>
            <p:cNvCxnSpPr>
              <a:cxnSpLocks/>
            </p:cNvCxnSpPr>
            <p:nvPr/>
          </p:nvCxnSpPr>
          <p:spPr>
            <a:xfrm>
              <a:off x="475521" y="4926592"/>
              <a:ext cx="3811366" cy="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4ED438A-FF99-A725-6F14-E578E2B5EFF8}"/>
              </a:ext>
            </a:extLst>
          </p:cNvPr>
          <p:cNvGrpSpPr/>
          <p:nvPr/>
        </p:nvGrpSpPr>
        <p:grpSpPr>
          <a:xfrm>
            <a:off x="7934324" y="3160168"/>
            <a:ext cx="3773202" cy="686213"/>
            <a:chOff x="7934324" y="3257765"/>
            <a:chExt cx="3773202" cy="686213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1A3AA2D-7677-1B95-C5DC-04A43AB35A6D}"/>
                </a:ext>
              </a:extLst>
            </p:cNvPr>
            <p:cNvSpPr txBox="1"/>
            <p:nvPr/>
          </p:nvSpPr>
          <p:spPr>
            <a:xfrm>
              <a:off x="8144446" y="3257765"/>
              <a:ext cx="3563080" cy="686213"/>
            </a:xfrm>
            <a:prstGeom prst="rect">
              <a:avLst/>
            </a:prstGeom>
            <a:noFill/>
          </p:spPr>
          <p:txBody>
            <a:bodyPr wrap="square" lIns="0" tIns="0" rIns="0" bIns="91440" rtlCol="0" anchor="t" anchorCtr="0">
              <a:spAutoFit/>
            </a:bodyPr>
            <a:lstStyle/>
            <a:p>
              <a:pPr algn="r" rtl="0">
                <a:lnSpc>
                  <a:spcPct val="120000"/>
                </a:lnSpc>
              </a:pPr>
              <a:r>
                <a:rPr lang="es-es" sz="1100" b="0" i="0" u="none" baseline="0" dirty="0">
                  <a:latin typeface="+mj-lt"/>
                  <a:ea typeface="+mj-lt"/>
                  <a:cs typeface="+mj-lt"/>
                </a:rPr>
                <a:t>Elemento filtrante de PET lavable</a:t>
              </a:r>
              <a:endParaRPr lang="es-es" sz="1100" dirty="0">
                <a:latin typeface="+mj-lt"/>
              </a:endParaRPr>
            </a:p>
            <a:p>
              <a:pPr algn="r" rtl="0">
                <a:lnSpc>
                  <a:spcPct val="120000"/>
                </a:lnSpc>
              </a:pPr>
              <a:r>
                <a:rPr lang="es-es" sz="1100" b="0" i="0" u="none" baseline="0" dirty="0"/>
                <a:t>Filtración de alta calidad, larga vida útil, duradera y adecuada para uso en húmedo/seco</a:t>
              </a:r>
              <a:endParaRPr lang="es-es" sz="1100" i="1" dirty="0"/>
            </a:p>
          </p:txBody>
        </p:sp>
        <p:cxnSp>
          <p:nvCxnSpPr>
            <p:cNvPr id="83" name="Straight Arrow Connector 88">
              <a:extLst>
                <a:ext uri="{FF2B5EF4-FFF2-40B4-BE49-F238E27FC236}">
                  <a16:creationId xmlns:a16="http://schemas.microsoft.com/office/drawing/2014/main" id="{00F17FD6-8BD2-2C4D-292D-C7638405BD2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34324" y="3943978"/>
              <a:ext cx="3773201" cy="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BE5B4C6E-D352-12CD-B3D3-CDB66488D2E0}"/>
              </a:ext>
            </a:extLst>
          </p:cNvPr>
          <p:cNvGrpSpPr/>
          <p:nvPr/>
        </p:nvGrpSpPr>
        <p:grpSpPr>
          <a:xfrm>
            <a:off x="475521" y="5164097"/>
            <a:ext cx="4258404" cy="686213"/>
            <a:chOff x="475521" y="5403779"/>
            <a:chExt cx="4258404" cy="686213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23F80280-ABA9-B49B-4607-BF8C93E7275C}"/>
                </a:ext>
              </a:extLst>
            </p:cNvPr>
            <p:cNvSpPr txBox="1"/>
            <p:nvPr/>
          </p:nvSpPr>
          <p:spPr>
            <a:xfrm>
              <a:off x="475521" y="5403779"/>
              <a:ext cx="3574311" cy="686213"/>
            </a:xfrm>
            <a:prstGeom prst="rect">
              <a:avLst/>
            </a:prstGeom>
            <a:noFill/>
          </p:spPr>
          <p:txBody>
            <a:bodyPr wrap="square" lIns="0" tIns="0" rIns="0" bIns="91440" rtlCol="0" anchor="t" anchorCtr="0">
              <a:spAutoFit/>
            </a:bodyPr>
            <a:lstStyle/>
            <a:p>
              <a:pPr algn="l" rtl="0">
                <a:lnSpc>
                  <a:spcPct val="120000"/>
                </a:lnSpc>
              </a:pPr>
              <a:r>
                <a:rPr lang="es-es" sz="1100" b="0" i="0" u="none" baseline="0">
                  <a:latin typeface="+mj-lt"/>
                  <a:ea typeface="+mj-lt"/>
                  <a:cs typeface="+mj-lt"/>
                </a:rPr>
                <a:t>Carga rápida y cambio en caliente para un uso continuo e ininterrumpido</a:t>
              </a:r>
              <a:br>
                <a:rPr lang="es-es" sz="1100"/>
              </a:br>
              <a:r>
                <a:rPr lang="es-es" sz="1100" b="0" i="0" u="none" baseline="0"/>
                <a:t>Carga completa en solo 60 min*</a:t>
              </a:r>
              <a:endParaRPr lang="es-es" sz="1100" dirty="0"/>
            </a:p>
          </p:txBody>
        </p: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A8BE8AC8-E3F1-C2CF-9F7F-897595E60CA2}"/>
                </a:ext>
              </a:extLst>
            </p:cNvPr>
            <p:cNvCxnSpPr>
              <a:cxnSpLocks/>
            </p:cNvCxnSpPr>
            <p:nvPr/>
          </p:nvCxnSpPr>
          <p:spPr>
            <a:xfrm>
              <a:off x="479425" y="6089992"/>
              <a:ext cx="4254500" cy="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DC2CE5A-783D-AD9F-2AE4-2BB038DA4A59}"/>
              </a:ext>
            </a:extLst>
          </p:cNvPr>
          <p:cNvSpPr txBox="1"/>
          <p:nvPr/>
        </p:nvSpPr>
        <p:spPr>
          <a:xfrm>
            <a:off x="7934324" y="4028318"/>
            <a:ext cx="3773200" cy="686213"/>
          </a:xfrm>
          <a:prstGeom prst="rect">
            <a:avLst/>
          </a:prstGeom>
          <a:noFill/>
        </p:spPr>
        <p:txBody>
          <a:bodyPr wrap="square" lIns="0" tIns="0" rIns="0" bIns="91440" rtlCol="0" anchor="t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s-es" sz="1100" b="0" i="0" u="none" baseline="0" dirty="0">
                <a:latin typeface="+mj-lt"/>
                <a:ea typeface="+mj-lt"/>
                <a:cs typeface="+mj-lt"/>
              </a:rPr>
              <a:t>Entrada </a:t>
            </a:r>
            <a:r>
              <a:rPr lang="es-es" sz="1100" b="0" i="0" u="none" baseline="0" dirty="0" err="1">
                <a:latin typeface="+mj-lt"/>
                <a:ea typeface="+mj-lt"/>
                <a:cs typeface="+mj-lt"/>
              </a:rPr>
              <a:t>MultiFit</a:t>
            </a:r>
            <a:endParaRPr lang="es-es" sz="1100" b="0" i="0" u="none" baseline="0" dirty="0">
              <a:latin typeface="+mj-lt"/>
              <a:ea typeface="+mj-lt"/>
              <a:cs typeface="+mj-lt"/>
            </a:endParaRPr>
          </a:p>
          <a:p>
            <a:pPr algn="r" rtl="0">
              <a:lnSpc>
                <a:spcPct val="120000"/>
              </a:lnSpc>
            </a:pPr>
            <a:r>
              <a:rPr lang="es-es" sz="1100" b="0" i="0" u="none" baseline="0" dirty="0"/>
              <a:t>Se puede utilizar una amplia gama de mangueras de aspiración y accesorios del programa de accesorios de Nilfisk en la batería AERO</a:t>
            </a:r>
            <a:endParaRPr lang="es-es" sz="1100" dirty="0"/>
          </a:p>
        </p:txBody>
      </p:sp>
      <p:cxnSp>
        <p:nvCxnSpPr>
          <p:cNvPr id="88" name="Straight Arrow Connector 88">
            <a:extLst>
              <a:ext uri="{FF2B5EF4-FFF2-40B4-BE49-F238E27FC236}">
                <a16:creationId xmlns:a16="http://schemas.microsoft.com/office/drawing/2014/main" id="{A1D5747D-5B5E-8EF7-DD5D-7084F633B60B}"/>
              </a:ext>
            </a:extLst>
          </p:cNvPr>
          <p:cNvCxnSpPr>
            <a:cxnSpLocks/>
          </p:cNvCxnSpPr>
          <p:nvPr/>
        </p:nvCxnSpPr>
        <p:spPr>
          <a:xfrm flipH="1">
            <a:off x="7934325" y="4853108"/>
            <a:ext cx="377320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10291F2-4760-11C2-128F-C7B9457952FC}"/>
              </a:ext>
            </a:extLst>
          </p:cNvPr>
          <p:cNvSpPr txBox="1"/>
          <p:nvPr/>
        </p:nvSpPr>
        <p:spPr>
          <a:xfrm>
            <a:off x="475521" y="6027579"/>
            <a:ext cx="1829529" cy="246221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algn="l" rtl="0">
              <a:spcBef>
                <a:spcPts val="0"/>
              </a:spcBef>
              <a:defRPr/>
            </a:pPr>
            <a:r>
              <a:rPr kumimoji="0" lang="es-es" sz="1000" b="0" i="0" u="none" strike="noStrike" kern="1200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Roboto Light"/>
                <a:cs typeface="Roboto Light"/>
              </a:rPr>
              <a:t>* Aprox. el 90 % de la capacidad de la batería</a:t>
            </a:r>
          </a:p>
        </p:txBody>
      </p:sp>
    </p:spTree>
    <p:extLst>
      <p:ext uri="{BB962C8B-B14F-4D97-AF65-F5344CB8AC3E}">
        <p14:creationId xmlns:p14="http://schemas.microsoft.com/office/powerpoint/2010/main" val="137008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F152A8-28C9-1D24-1E99-78A465AA5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F70C47A5-2EFB-39C7-0B2C-D083BE89D905}"/>
              </a:ext>
            </a:extLst>
          </p:cNvPr>
          <p:cNvSpPr txBox="1">
            <a:spLocks/>
          </p:cNvSpPr>
          <p:nvPr/>
        </p:nvSpPr>
        <p:spPr>
          <a:xfrm>
            <a:off x="7471611" y="0"/>
            <a:ext cx="4720389" cy="62833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es-es" b="0" i="0" u="none" baseline="0"/>
              <a:t> </a:t>
            </a:r>
            <a:endParaRPr lang="es-es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D04B7D-392D-7787-B6ED-87449D29FF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D04B7D-392D-7787-B6ED-87449D29FF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34FAC03-F87F-4367-F247-A6A6A27FB91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1ADDA9-7566-60CC-3568-484A5E164A2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9</a:t>
            </a:fld>
            <a:endParaRPr lang="es-e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1CB1562-DA46-1952-9E05-30DC58ED284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422400"/>
            <a:ext cx="5507038" cy="4851399"/>
          </a:xfrm>
          <a:noFill/>
        </p:spPr>
        <p:txBody>
          <a:bodyPr lIns="0" tIns="0" rIns="0" bIns="91440"/>
          <a:lstStyle/>
          <a:p>
            <a:pPr marL="0" indent="0" algn="l" rtl="0">
              <a:lnSpc>
                <a:spcPct val="120000"/>
              </a:lnSpc>
              <a:spcBef>
                <a:spcPts val="400"/>
              </a:spcBef>
              <a:buNone/>
            </a:pPr>
            <a:r>
              <a:rPr lang="es-es" b="0" i="0" u="none" baseline="0" dirty="0">
                <a:latin typeface="+mj-lt"/>
                <a:ea typeface="+mj-lt"/>
                <a:cs typeface="+mj-lt"/>
              </a:rPr>
              <a:t>Limpieza básica de polvos peligrosos accionada por batería de nivel básico</a:t>
            </a:r>
          </a:p>
          <a:p>
            <a:pPr marL="199104" lvl="1" indent="-201168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s-es" b="0" i="0" u="none" baseline="0" dirty="0"/>
              <a:t>Fácil de usar gracias a la clara interfaz de usuario</a:t>
            </a:r>
          </a:p>
          <a:p>
            <a:pPr marL="0" indent="0" algn="l" rtl="0">
              <a:lnSpc>
                <a:spcPct val="120000"/>
              </a:lnSpc>
              <a:spcBef>
                <a:spcPts val="400"/>
              </a:spcBef>
              <a:buNone/>
            </a:pPr>
            <a:r>
              <a:rPr lang="es-es" b="0" i="0" u="none" baseline="0" dirty="0">
                <a:latin typeface="+mj-lt"/>
                <a:ea typeface="+mj-lt"/>
                <a:cs typeface="+mj-lt"/>
              </a:rPr>
              <a:t>Tiempo de uso prolongado:</a:t>
            </a:r>
          </a:p>
          <a:p>
            <a:pPr marL="201168" lvl="1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s-es" b="0" i="0" u="none" baseline="0" dirty="0"/>
              <a:t>Con NBP60 25 min</a:t>
            </a:r>
          </a:p>
          <a:p>
            <a:pPr marL="201168" lvl="1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s-es" b="0" i="0" u="none" baseline="0" dirty="0"/>
              <a:t>Con NBP100 40 min</a:t>
            </a:r>
          </a:p>
          <a:p>
            <a:pPr marL="201168" lvl="1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s-es" b="0" i="0" u="none" baseline="0" dirty="0"/>
              <a:t>Con NBP100 65 min (modo Eco)</a:t>
            </a:r>
          </a:p>
          <a:p>
            <a:pPr marL="0" indent="0" algn="l" rtl="0">
              <a:lnSpc>
                <a:spcPct val="120000"/>
              </a:lnSpc>
              <a:spcBef>
                <a:spcPts val="400"/>
              </a:spcBef>
              <a:buNone/>
            </a:pPr>
            <a:r>
              <a:rPr lang="es-es" b="0" i="0" u="none" baseline="0" dirty="0">
                <a:latin typeface="+mj-lt"/>
                <a:ea typeface="+mj-lt"/>
                <a:cs typeface="+mj-lt"/>
              </a:rPr>
              <a:t>Aspirador de seguridad de entrada Clase L</a:t>
            </a:r>
          </a:p>
          <a:p>
            <a:pPr marL="201168" lvl="1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s-es" b="0" i="0" u="none" baseline="0" dirty="0"/>
              <a:t>Desarrollado y certificado para la recogida de polvo peligroso, según la clase de polvo L</a:t>
            </a:r>
          </a:p>
          <a:p>
            <a:pPr marL="0" indent="0" algn="l" rtl="0">
              <a:lnSpc>
                <a:spcPct val="120000"/>
              </a:lnSpc>
              <a:spcBef>
                <a:spcPts val="400"/>
              </a:spcBef>
              <a:buNone/>
            </a:pPr>
            <a:r>
              <a:rPr lang="es-es" b="0" i="0" u="none" baseline="0" dirty="0">
                <a:latin typeface="+mj-lt"/>
                <a:ea typeface="+mj-lt"/>
                <a:cs typeface="+mj-lt"/>
              </a:rPr>
              <a:t>En  húmedo y en seco </a:t>
            </a:r>
          </a:p>
          <a:p>
            <a:pPr marL="201168" lvl="1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s-es" b="0" i="0" u="none" baseline="0" dirty="0"/>
              <a:t>Equipado con un flotador para la recogida fiable de muchos tipos de líquidos</a:t>
            </a:r>
            <a:endParaRPr lang="es-e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4867A1D-DF5E-D2ED-AA4B-1D986EB95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AERO 21B-0L PC BP36V</a:t>
            </a:r>
            <a:endParaRPr lang="es-es" dirty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548B6FD-A68B-65E2-7AB9-206E4D1F0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 dirty="0"/>
              <a:t>4 | Características del AERO B</a:t>
            </a:r>
            <a:endParaRPr lang="es-e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B28DAE1-BEC2-C2C4-A6A7-B549F9CBBED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624" y="1610670"/>
            <a:ext cx="3809524" cy="3809524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491D9F37-90E2-7D6C-AEB3-DA5E24EBD4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177223" y="1412875"/>
            <a:ext cx="542925" cy="55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682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715672-C3CF-EA1F-0CDA-BCC6EC9A9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B2A268-E7E9-B56A-57D7-40413C9E07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s-es" b="1" i="0" u="none" baseline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D04587AF-A970-BACC-0037-DFE06ED4A0DB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A3F574C-EE1C-8B93-AD06-3D5F3D33C2EB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</a:t>
            </a:fld>
            <a:endParaRPr lang="es-es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CD11924-33DE-B9B4-ECE1-E3114C97EE13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dirty="0"/>
              <a:t>Introducción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4EE59037-B4F2-A089-31A2-6CBFEECF1432}"/>
              </a:ext>
            </a:extLst>
          </p:cNvPr>
          <p:cNvSpPr txBox="1">
            <a:spLocks/>
          </p:cNvSpPr>
          <p:nvPr/>
        </p:nvSpPr>
        <p:spPr>
          <a:xfrm>
            <a:off x="1968167" y="2222844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dirty="0"/>
              <a:t>Segmentos de client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7E81EE20-FC41-4A3A-BFFE-04373FBE0A15}"/>
              </a:ext>
            </a:extLst>
          </p:cNvPr>
          <p:cNvSpPr txBox="1">
            <a:spLocks/>
          </p:cNvSpPr>
          <p:nvPr/>
        </p:nvSpPr>
        <p:spPr>
          <a:xfrm>
            <a:off x="1968167" y="3064563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/>
              <a:t>Nuevo aspirador con batería</a:t>
            </a:r>
            <a:endParaRPr lang="es-es" dirty="0"/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F42078BF-1B9B-0270-406D-2700A342A88A}"/>
              </a:ext>
            </a:extLst>
          </p:cNvPr>
          <p:cNvSpPr txBox="1">
            <a:spLocks/>
          </p:cNvSpPr>
          <p:nvPr/>
        </p:nvSpPr>
        <p:spPr>
          <a:xfrm>
            <a:off x="1968167" y="3906282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/>
              <a:t>Argumentos de venta principa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0C36A846-4D2C-DF88-9D38-D65791531DF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4748001"/>
            <a:ext cx="4018296" cy="698238"/>
          </a:xfrm>
        </p:spPr>
        <p:txBody>
          <a:bodyPr/>
          <a:lstStyle/>
          <a:p>
            <a:pPr algn="l" rtl="0">
              <a:lnSpc>
                <a:spcPct val="120000"/>
              </a:lnSpc>
            </a:pPr>
            <a:r>
              <a:rPr lang="es-es" b="0" i="0" u="none" baseline="0" dirty="0"/>
              <a:t>Otro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B7CBF20D-444D-4D72-5C4C-DC292D68E705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1</a:t>
            </a:r>
            <a:endParaRPr lang="es-es" dirty="0"/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9DBC9A9C-73C4-CA9B-4B78-3ACCE8DBF0F1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2</a:t>
            </a:r>
            <a:endParaRPr lang="es-es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BC28244C-FF75-606A-4CB7-47A7555368B9}"/>
              </a:ext>
            </a:extLst>
          </p:cNvPr>
          <p:cNvSpPr txBox="1">
            <a:spLocks/>
          </p:cNvSpPr>
          <p:nvPr/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3</a:t>
            </a:r>
            <a:endParaRPr lang="es-es" dirty="0"/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DC59D089-859A-62BF-4620-20F5522D6419}"/>
              </a:ext>
            </a:extLst>
          </p:cNvPr>
          <p:cNvSpPr txBox="1">
            <a:spLocks/>
          </p:cNvSpPr>
          <p:nvPr/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4</a:t>
            </a:r>
            <a:endParaRPr lang="es-es" dirty="0"/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F75AE74A-8CDB-7A4C-8956-959A6027A73B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4748001"/>
            <a:ext cx="698400" cy="698238"/>
          </a:xfrm>
        </p:spPr>
        <p:txBody>
          <a:bodyPr/>
          <a:lstStyle/>
          <a:p>
            <a:pPr rtl="0"/>
            <a:r>
              <a:rPr lang="es-es" b="1" i="0" u="none" baseline="0"/>
              <a:t>5</a:t>
            </a:r>
          </a:p>
        </p:txBody>
      </p:sp>
      <p:pic>
        <p:nvPicPr>
          <p:cNvPr id="88" name="Picture Placeholder 21" descr="A person vacuuming the floor&#10;&#10;AI-generated content may be incorrect.">
            <a:extLst>
              <a:ext uri="{FF2B5EF4-FFF2-40B4-BE49-F238E27FC236}">
                <a16:creationId xmlns:a16="http://schemas.microsoft.com/office/drawing/2014/main" id="{F49E408E-A59A-EACC-EBB6-9622210D313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05539" y="0"/>
            <a:ext cx="5986461" cy="6273800"/>
          </a:xfrm>
        </p:spPr>
      </p:pic>
    </p:spTree>
    <p:extLst>
      <p:ext uri="{BB962C8B-B14F-4D97-AF65-F5344CB8AC3E}">
        <p14:creationId xmlns:p14="http://schemas.microsoft.com/office/powerpoint/2010/main" val="3896620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D33283-6DE7-C016-47A8-F20E2C907A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4FD337B-6C78-A906-24A6-C9863DB46F19}"/>
              </a:ext>
            </a:extLst>
          </p:cNvPr>
          <p:cNvSpPr txBox="1">
            <a:spLocks/>
          </p:cNvSpPr>
          <p:nvPr/>
        </p:nvSpPr>
        <p:spPr>
          <a:xfrm>
            <a:off x="7471611" y="0"/>
            <a:ext cx="4720389" cy="62833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es-es" b="0" i="0" u="none" baseline="0"/>
              <a:t> </a:t>
            </a:r>
            <a:endParaRPr lang="es-e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28DA85A-68C4-F512-EEE4-2415B8368E2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10624" y="1610670"/>
            <a:ext cx="3809448" cy="3809524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9E2409D-A8B1-A1B5-563F-E573D61E50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6111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9E2409D-A8B1-A1B5-563F-E573D61E50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3392D92-D3EE-A2A7-E379-54F4632273B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8EB515-1295-9BAC-2DC2-9C9E83443DB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0</a:t>
            </a:fld>
            <a:endParaRPr lang="es-e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0D23B56-5E98-8BEF-D6BF-1B223C997EC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422400"/>
            <a:ext cx="5507038" cy="4851399"/>
          </a:xfrm>
          <a:noFill/>
        </p:spPr>
        <p:txBody>
          <a:bodyPr lIns="0" tIns="0" rIns="0" bIns="91440"/>
          <a:lstStyle/>
          <a:p>
            <a:pPr marL="0" indent="0" algn="l" rtl="0">
              <a:lnSpc>
                <a:spcPct val="120000"/>
              </a:lnSpc>
              <a:spcBef>
                <a:spcPts val="400"/>
              </a:spcBef>
              <a:buNone/>
            </a:pPr>
            <a:r>
              <a:rPr lang="es-es" b="0" i="0" u="none" baseline="0" dirty="0">
                <a:latin typeface="+mj-lt"/>
                <a:ea typeface="+mj-lt"/>
                <a:cs typeface="+mj-lt"/>
              </a:rPr>
              <a:t>Desarrollada y diseñada para tareas de limpieza exigentes que impliquen polvo peligroso.</a:t>
            </a:r>
          </a:p>
          <a:p>
            <a:pPr algn="l" rtl="0">
              <a:lnSpc>
                <a:spcPct val="120000"/>
              </a:lnSpc>
              <a:spcBef>
                <a:spcPts val="400"/>
              </a:spcBef>
            </a:pPr>
            <a:r>
              <a:rPr lang="es-es" b="0" i="0" u="none" baseline="0" dirty="0"/>
              <a:t>Diseñada para 2 diámetros de manguera diferentes</a:t>
            </a:r>
          </a:p>
          <a:p>
            <a:pPr marL="0" indent="0" algn="l" rtl="0">
              <a:lnSpc>
                <a:spcPct val="120000"/>
              </a:lnSpc>
              <a:spcBef>
                <a:spcPts val="400"/>
              </a:spcBef>
              <a:buNone/>
            </a:pPr>
            <a:endParaRPr lang="es-es" b="0" i="0" u="none" baseline="0" dirty="0"/>
          </a:p>
          <a:p>
            <a:pPr marL="0" indent="0">
              <a:lnSpc>
                <a:spcPct val="120000"/>
              </a:lnSpc>
              <a:spcBef>
                <a:spcPts val="400"/>
              </a:spcBef>
              <a:buNone/>
            </a:pPr>
            <a:r>
              <a:rPr lang="es-es" b="1" dirty="0">
                <a:latin typeface="+mj-lt"/>
                <a:ea typeface="+mj-lt"/>
                <a:cs typeface="+mj-lt"/>
              </a:rPr>
              <a:t>Tiempo de uso prolongado:</a:t>
            </a:r>
          </a:p>
          <a:p>
            <a:pPr marL="201168" lvl="1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s-es" dirty="0"/>
              <a:t>Con NBP60 25 min</a:t>
            </a:r>
          </a:p>
          <a:p>
            <a:pPr marL="201168" lvl="1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s-es" dirty="0"/>
              <a:t>Con NBP100 40 min</a:t>
            </a:r>
          </a:p>
          <a:p>
            <a:pPr algn="l" rtl="0">
              <a:lnSpc>
                <a:spcPct val="120000"/>
              </a:lnSpc>
              <a:spcBef>
                <a:spcPts val="400"/>
              </a:spcBef>
            </a:pPr>
            <a:endParaRPr lang="es-es" b="0" i="0" u="none" baseline="0" dirty="0"/>
          </a:p>
          <a:p>
            <a:pPr marL="0" indent="0" algn="l" rtl="0">
              <a:lnSpc>
                <a:spcPct val="120000"/>
              </a:lnSpc>
              <a:spcBef>
                <a:spcPts val="400"/>
              </a:spcBef>
              <a:buNone/>
            </a:pPr>
            <a:r>
              <a:rPr lang="es-es" b="0" i="0" u="none" baseline="0" dirty="0">
                <a:latin typeface="+mj-lt"/>
                <a:ea typeface="+mj-lt"/>
                <a:cs typeface="+mj-lt"/>
              </a:rPr>
              <a:t>Aspirador de seguridad completo de clase M</a:t>
            </a:r>
          </a:p>
          <a:p>
            <a:pPr algn="l" rtl="0">
              <a:lnSpc>
                <a:spcPct val="120000"/>
              </a:lnSpc>
              <a:spcBef>
                <a:spcPts val="400"/>
              </a:spcBef>
            </a:pPr>
            <a:r>
              <a:rPr lang="es-es" b="0" i="0" u="none" baseline="0" dirty="0"/>
              <a:t>Diseñado para recoger polvo peligroso de la clase de polvo M. Es capaz de recoger polvos como el de hormigón, madera o pintura generados durante trabajos de artesanía y construcción. Estos polvos se separan de forma segura en la bolsa del filtro y, por lo tanto, se pueden eliminar fácilmente</a:t>
            </a:r>
          </a:p>
          <a:p>
            <a:pPr marL="0" indent="0" algn="l" rtl="0">
              <a:lnSpc>
                <a:spcPct val="120000"/>
              </a:lnSpc>
              <a:spcBef>
                <a:spcPts val="400"/>
              </a:spcBef>
              <a:buNone/>
            </a:pPr>
            <a:r>
              <a:rPr lang="es-es" b="0" i="0" u="none" baseline="0" dirty="0">
                <a:latin typeface="+mj-lt"/>
                <a:ea typeface="+mj-lt"/>
                <a:cs typeface="+mj-lt"/>
              </a:rPr>
              <a:t>En  húmedo y en seco </a:t>
            </a:r>
          </a:p>
          <a:p>
            <a:pPr algn="l" rtl="0">
              <a:lnSpc>
                <a:spcPct val="120000"/>
              </a:lnSpc>
              <a:spcBef>
                <a:spcPts val="400"/>
              </a:spcBef>
            </a:pPr>
            <a:r>
              <a:rPr lang="es-es" b="0" i="0" u="none" baseline="0" dirty="0"/>
              <a:t>Equipado con un flotador para la recogida fiable de muchos tipos de líquidos</a:t>
            </a:r>
            <a:endParaRPr lang="es-e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2730A73-E730-F025-B78D-AB844D1CF0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AERO 21B-W0M PC BP36V</a:t>
            </a:r>
            <a:endParaRPr lang="es-es" dirty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A31C39B-3856-E33A-6B29-587B4507F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 dirty="0"/>
              <a:t>4 | Características del AERO B</a:t>
            </a:r>
            <a:endParaRPr lang="es-es" dirty="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4F4BB036-2C86-9B82-2EA3-52DCC426779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177147" y="1412875"/>
            <a:ext cx="542925" cy="542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53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62E0BD-96F4-5FAE-F664-46C8384228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2A50F2BD-017E-5E53-C58E-1FC28AAA7F67}"/>
              </a:ext>
            </a:extLst>
          </p:cNvPr>
          <p:cNvSpPr txBox="1">
            <a:spLocks/>
          </p:cNvSpPr>
          <p:nvPr/>
        </p:nvSpPr>
        <p:spPr>
          <a:xfrm>
            <a:off x="7471611" y="0"/>
            <a:ext cx="4720389" cy="62833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es-es" b="0" i="0" u="none" baseline="0"/>
              <a:t> </a:t>
            </a:r>
            <a:endParaRPr lang="es-es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8FCE48-3FD0-4227-E0E1-D8D5E62E5E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8FCE48-3FD0-4227-E0E1-D8D5E62E5E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1054746-E7AD-4A82-4292-5F4D93CEFC8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E6EB80-E077-B4F8-85F8-9EB9E9DDC8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1</a:t>
            </a:fld>
            <a:endParaRPr lang="es-e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9FB2945-D0F5-6AFB-CE48-367E3165791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5521" y="1412876"/>
            <a:ext cx="5853090" cy="4707564"/>
          </a:xfrm>
          <a:noFill/>
        </p:spPr>
        <p:txBody>
          <a:bodyPr lIns="0" tIns="0" rIns="0" bIns="91440"/>
          <a:lstStyle/>
          <a:p>
            <a:pPr marL="0" indent="0" algn="l" rtl="0">
              <a:lnSpc>
                <a:spcPct val="120000"/>
              </a:lnSpc>
              <a:spcBef>
                <a:spcPts val="400"/>
              </a:spcBef>
              <a:buNone/>
            </a:pPr>
            <a:r>
              <a:rPr lang="es-es" b="0" i="0" u="none" baseline="0" dirty="0">
                <a:latin typeface="+mj-lt"/>
                <a:ea typeface="+mj-lt"/>
                <a:cs typeface="+mj-lt"/>
              </a:rPr>
              <a:t>Control remoto </a:t>
            </a:r>
          </a:p>
          <a:p>
            <a:pPr marL="201168" lvl="1" indent="-201168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s-es" b="0" i="0" u="none" baseline="0" dirty="0"/>
              <a:t>Manejo sencillo y cómodo del aspirador a distancia</a:t>
            </a:r>
          </a:p>
          <a:p>
            <a:pPr marL="201168" lvl="1" indent="-201168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s-es" b="0" i="0" u="none" baseline="0" dirty="0"/>
              <a:t>Permite el encendido/apagado automático que funciona con herramientas inalámbricas gracias a la función inteligente </a:t>
            </a:r>
            <a:r>
              <a:rPr lang="es-es" b="0" i="0" u="none" baseline="0" dirty="0" err="1"/>
              <a:t>AutoSense</a:t>
            </a:r>
            <a:endParaRPr lang="es-es" b="0" i="0" u="none" baseline="0" dirty="0"/>
          </a:p>
          <a:p>
            <a:pPr marL="201168" lvl="1" indent="-201168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s-es" b="0" i="0" u="none" baseline="0" dirty="0"/>
              <a:t>Basado en la comunicación por Bluetooth, emparejamiento fiable y sencillo </a:t>
            </a:r>
          </a:p>
          <a:p>
            <a:pPr marL="201168" lvl="1" indent="-201168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s-es" b="0" i="0" u="none" baseline="0" dirty="0"/>
              <a:t>El diseño flexible facilita la fijación en la manguera, el tubo de mano o la herramienta eléctrica</a:t>
            </a:r>
          </a:p>
          <a:p>
            <a:pPr marL="201168" lvl="1" indent="-201168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s-es" b="0" i="0" u="none" baseline="0" dirty="0"/>
              <a:t>Robustez y durabilidad para hacer frente al entorno y a la manipulación brusca en las obras</a:t>
            </a:r>
          </a:p>
          <a:p>
            <a:pPr marL="201168" lvl="1" indent="-201168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s-es" b="0" i="0" u="none" baseline="0" dirty="0"/>
              <a:t>Los indicadores LED proporcionan advertencias visuales cuando el flujo de aire es insuficiente y se requiere atención</a:t>
            </a:r>
          </a:p>
          <a:p>
            <a:pPr marL="201168" lvl="1" indent="-201168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s-es" b="0" i="0" u="none" baseline="0" dirty="0"/>
              <a:t>El modo </a:t>
            </a:r>
            <a:r>
              <a:rPr lang="es-es" b="0" i="0" u="none" baseline="0" dirty="0" err="1"/>
              <a:t>AutoSense</a:t>
            </a:r>
            <a:r>
              <a:rPr lang="es-es" b="0" i="0" u="none" baseline="0" dirty="0"/>
              <a:t> detecta automáticamente las activaciones de las herramientas eléctricas</a:t>
            </a:r>
          </a:p>
          <a:p>
            <a:pPr marL="201168" lvl="1" indent="-201168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s-es" b="0" i="0" u="none" baseline="0" dirty="0"/>
              <a:t>Disponible en las versiones de batería del modelo M AERO</a:t>
            </a:r>
            <a:endParaRPr lang="es-e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ACE82A-4DE2-2B87-8AFD-5AABA695AF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AutoSense</a:t>
            </a:r>
            <a:endParaRPr lang="es-es" dirty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25AE014-77C3-5616-675E-A0D700221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 dirty="0"/>
              <a:t>4 | Características del AERO B</a:t>
            </a:r>
            <a:endParaRPr lang="es-es" dirty="0"/>
          </a:p>
        </p:txBody>
      </p:sp>
      <p:pic>
        <p:nvPicPr>
          <p:cNvPr id="9" name="Picture 31">
            <a:extLst>
              <a:ext uri="{FF2B5EF4-FFF2-40B4-BE49-F238E27FC236}">
                <a16:creationId xmlns:a16="http://schemas.microsoft.com/office/drawing/2014/main" id="{7C97B6DA-CAC1-293D-5197-5E5060ABB1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976" b="100000" l="690" r="100000">
                        <a14:foregroundMark x1="35172" y1="75889" x2="18030" y2="87352"/>
                        <a14:foregroundMark x1="18030" y1="87352" x2="34975" y2="90415"/>
                        <a14:foregroundMark x1="34975" y1="90415" x2="62365" y2="88834"/>
                        <a14:foregroundMark x1="62365" y1="88834" x2="67783" y2="84783"/>
                        <a14:foregroundMark x1="88966" y1="61957" x2="91823" y2="29545"/>
                        <a14:foregroundMark x1="91823" y1="29545" x2="76650" y2="32905"/>
                        <a14:foregroundMark x1="34286" y1="36759" x2="34286" y2="49407"/>
                        <a14:foregroundMark x1="96749" y1="10968" x2="92217" y2="24605"/>
                        <a14:foregroundMark x1="92217" y1="24605" x2="92118" y2="27372"/>
                        <a14:foregroundMark x1="94089" y1="5929" x2="97635" y2="52866"/>
                        <a14:foregroundMark x1="97635" y1="52866" x2="38621" y2="98419"/>
                        <a14:foregroundMark x1="38621" y1="98419" x2="6108" y2="99506"/>
                        <a14:foregroundMark x1="6108" y1="99506" x2="18325" y2="93281"/>
                        <a14:foregroundMark x1="18325" y1="93281" x2="18522" y2="93281"/>
                        <a14:foregroundMark x1="53892" y1="95455" x2="16256" y2="98221"/>
                        <a14:foregroundMark x1="16256" y1="98221" x2="21872" y2="86858"/>
                        <a14:foregroundMark x1="21872" y1="86858" x2="22759" y2="86265"/>
                        <a14:foregroundMark x1="5222" y1="95356" x2="6995" y2="98913"/>
                        <a14:foregroundMark x1="690" y1="98814" x2="4729" y2="99308"/>
                        <a14:foregroundMark x1="31724" y1="72134" x2="31724" y2="72134"/>
                        <a14:foregroundMark x1="27586" y1="75988" x2="27586" y2="75988"/>
                        <a14:foregroundMark x1="11429" y1="89822" x2="11429" y2="89822"/>
                        <a14:foregroundMark x1="91626" y1="5336" x2="99901" y2="10870"/>
                        <a14:foregroundMark x1="99901" y1="47036" x2="98818" y2="53854"/>
                        <a14:foregroundMark x1="98818" y1="53953" x2="97931" y2="55435"/>
                        <a14:foregroundMark x1="89557" y1="8399" x2="99901" y2="444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65700" y="1575761"/>
            <a:ext cx="4726300" cy="4707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FA46689-7102-C77C-831A-C427F33681A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7231" y="1376993"/>
            <a:ext cx="1127762" cy="210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72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337E58-32D0-9A36-8A7A-7CFF689AF1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8A58BB-DA62-6E48-263B-F7FAFFEE16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7282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8A58BB-DA62-6E48-263B-F7FAFFEE16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FC3C637-3E04-CAE2-CB2A-73918850E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El nuevo esquema de colores hace hincapié en el uso profesional</a:t>
            </a:r>
            <a:endParaRPr lang="es-es" dirty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F391CC3-F4F2-B2DD-735B-DDB67F337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 dirty="0"/>
              <a:t>4 | Características del AERO B</a:t>
            </a:r>
            <a:endParaRPr lang="es-e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3B4F393-38D7-60DB-AD93-FFAF066A4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5E7B77-5BE7-2270-40DB-84C7A3FFAC5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2</a:t>
            </a:fld>
            <a:endParaRPr lang="es-e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D804028-8289-DEED-AE86-25BF63BF330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0850" y="1424907"/>
            <a:ext cx="4444444" cy="444444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58C95CF-4D32-0B64-ADD9-8F302851A73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521" y="1501161"/>
            <a:ext cx="4444444" cy="444444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9E3CB4D-B52B-AB45-55C5-CF264F51FEF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2037" y="1501161"/>
            <a:ext cx="4444444" cy="4444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4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106928-C5AB-DB68-2461-17DECCAFF8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2FE035-5FF2-B954-EA7E-F83F03D57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s-es" b="1" i="0" u="none" baseline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A55BFCEE-1D32-4470-5179-843092250AC0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AA23B654-A573-7ABB-DF98-406557F789E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3</a:t>
            </a:fld>
            <a:endParaRPr lang="es-es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865D66BA-A337-292D-03E7-6D3634A1C82A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dirty="0">
                <a:solidFill>
                  <a:schemeClr val="bg2"/>
                </a:solidFill>
              </a:rPr>
              <a:t>Introducción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66AA3D08-C103-BDE0-9FB4-5AC9E2F19C34}"/>
              </a:ext>
            </a:extLst>
          </p:cNvPr>
          <p:cNvSpPr txBox="1">
            <a:spLocks/>
          </p:cNvSpPr>
          <p:nvPr/>
        </p:nvSpPr>
        <p:spPr>
          <a:xfrm>
            <a:off x="1968167" y="2222844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 dirty="0">
                <a:solidFill>
                  <a:schemeClr val="bg2"/>
                </a:solidFill>
              </a:rPr>
              <a:t>Segmentos de clientes</a:t>
            </a:r>
            <a:endParaRPr lang="es-es" dirty="0">
              <a:solidFill>
                <a:schemeClr val="bg2"/>
              </a:solidFill>
            </a:endParaRP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948259E6-D115-DBF6-6F34-42084C1AC39F}"/>
              </a:ext>
            </a:extLst>
          </p:cNvPr>
          <p:cNvSpPr txBox="1">
            <a:spLocks/>
          </p:cNvSpPr>
          <p:nvPr/>
        </p:nvSpPr>
        <p:spPr>
          <a:xfrm>
            <a:off x="1968167" y="3064563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>
                <a:solidFill>
                  <a:schemeClr val="bg2"/>
                </a:solidFill>
              </a:rPr>
              <a:t>Nuevo aspirador con batería</a:t>
            </a:r>
            <a:endParaRPr lang="es-es" dirty="0">
              <a:solidFill>
                <a:schemeClr val="bg2"/>
              </a:solidFill>
            </a:endParaRPr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60AF92CD-3B2A-AA37-206E-3E58D02E69F4}"/>
              </a:ext>
            </a:extLst>
          </p:cNvPr>
          <p:cNvSpPr txBox="1">
            <a:spLocks/>
          </p:cNvSpPr>
          <p:nvPr/>
        </p:nvSpPr>
        <p:spPr>
          <a:xfrm>
            <a:off x="1968167" y="3906282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>
                <a:solidFill>
                  <a:schemeClr val="bg2"/>
                </a:solidFill>
              </a:rPr>
              <a:t>Argumentos de venta principa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33D41A81-74E9-EA74-19DB-D03D86BDF7F0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4748001"/>
            <a:ext cx="4018296" cy="698238"/>
          </a:xfrm>
        </p:spPr>
        <p:txBody>
          <a:bodyPr/>
          <a:lstStyle/>
          <a:p>
            <a:pPr algn="l" rtl="0">
              <a:lnSpc>
                <a:spcPct val="120000"/>
              </a:lnSpc>
            </a:pPr>
            <a:r>
              <a:rPr lang="es-es" b="0" i="0" u="none" baseline="0" dirty="0"/>
              <a:t>Otro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C4407496-4415-AC62-4A3E-3C470DFB2F66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1</a:t>
            </a:r>
            <a:endParaRPr lang="es-es" dirty="0"/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280B3FB-3F2F-00DF-F588-3E286A767004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2</a:t>
            </a:r>
            <a:endParaRPr lang="es-es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E7BFADB7-C180-8AB5-86E6-2C2D6B36DD84}"/>
              </a:ext>
            </a:extLst>
          </p:cNvPr>
          <p:cNvSpPr txBox="1">
            <a:spLocks/>
          </p:cNvSpPr>
          <p:nvPr/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3</a:t>
            </a:r>
            <a:endParaRPr lang="es-es" dirty="0"/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9CC55543-D31E-BCAA-B757-7D4B0C942C0F}"/>
              </a:ext>
            </a:extLst>
          </p:cNvPr>
          <p:cNvSpPr txBox="1">
            <a:spLocks/>
          </p:cNvSpPr>
          <p:nvPr/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4</a:t>
            </a:r>
            <a:endParaRPr lang="es-es" dirty="0"/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B7210C19-5285-8075-3AB7-259856F1B0B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4748001"/>
            <a:ext cx="698400" cy="698238"/>
          </a:xfrm>
          <a:solidFill>
            <a:schemeClr val="accent3"/>
          </a:solidFill>
        </p:spPr>
        <p:txBody>
          <a:bodyPr/>
          <a:lstStyle/>
          <a:p>
            <a:pPr rtl="0"/>
            <a:r>
              <a:rPr lang="es-es" b="1" i="0" u="none" baseline="0" dirty="0"/>
              <a:t>5</a:t>
            </a:r>
          </a:p>
        </p:txBody>
      </p:sp>
      <p:pic>
        <p:nvPicPr>
          <p:cNvPr id="7" name="Picture Placeholder 12">
            <a:extLst>
              <a:ext uri="{FF2B5EF4-FFF2-40B4-BE49-F238E27FC236}">
                <a16:creationId xmlns:a16="http://schemas.microsoft.com/office/drawing/2014/main" id="{3423CAE8-CF4D-2385-DFFB-D686451775E1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05539" y="0"/>
            <a:ext cx="5986461" cy="6273800"/>
          </a:xfrm>
        </p:spPr>
      </p:pic>
    </p:spTree>
    <p:extLst>
      <p:ext uri="{BB962C8B-B14F-4D97-AF65-F5344CB8AC3E}">
        <p14:creationId xmlns:p14="http://schemas.microsoft.com/office/powerpoint/2010/main" val="227375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5001E23-D0E7-5A9A-50A7-E45946331C3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0768" y="2436926"/>
            <a:ext cx="4734981" cy="2889740"/>
          </a:xfrm>
          <a:prstGeom prst="rect">
            <a:avLst/>
          </a:prstGeom>
        </p:spPr>
      </p:pic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B783081-F029-D284-A14D-902E3DAC5F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1" imgH="411" progId="TCLayout.ActiveDocument.1">
                  <p:embed/>
                </p:oleObj>
              </mc:Choice>
              <mc:Fallback>
                <p:oleObj name="think-cell Slide" r:id="rId5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83081-F029-D284-A14D-902E3DAC5F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ABD03-BC24-0F94-F290-AE8D115137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Serie NBP | Potencia de batería escalable en un formato compact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860F6A-8662-41A8-9065-EB80FF0A47C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4</a:t>
            </a:fld>
            <a:endParaRPr lang="es-es" noProof="0"/>
          </a:p>
        </p:txBody>
      </p:sp>
      <p:sp>
        <p:nvSpPr>
          <p:cNvPr id="7" name="TextBox 6"/>
          <p:cNvSpPr txBox="1"/>
          <p:nvPr/>
        </p:nvSpPr>
        <p:spPr>
          <a:xfrm>
            <a:off x="2852618" y="2179840"/>
            <a:ext cx="929527" cy="2728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s-es" sz="16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ombat 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72ECD93-1B29-464B-9709-00D7C73ABC4D}"/>
              </a:ext>
            </a:extLst>
          </p:cNvPr>
          <p:cNvSpPr txBox="1"/>
          <p:nvPr/>
        </p:nvSpPr>
        <p:spPr>
          <a:xfrm>
            <a:off x="8123383" y="2179840"/>
            <a:ext cx="187574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s-es" sz="16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rie NBP</a:t>
            </a:r>
          </a:p>
          <a:p>
            <a:pPr marL="0" marR="0" lvl="0" indent="0" algn="l" defTabSz="1023967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>
                <a:ln>
                  <a:noFill/>
                </a:ln>
                <a:effectLst/>
                <a:uLnTx/>
                <a:uFillTx/>
                <a:ea typeface="Roboto Medium" panose="02000000000000000000" pitchFamily="2" charset="0"/>
              </a:rPr>
              <a:t>NBP60</a:t>
            </a:r>
          </a:p>
          <a:p>
            <a:pPr algn="l" rtl="0">
              <a:defRPr/>
            </a:pPr>
            <a:r>
              <a:rPr lang="es-es" sz="1600" b="0" i="0" u="none" baseline="0">
                <a:ea typeface="Roboto Medium" panose="02000000000000000000" pitchFamily="2" charset="0"/>
              </a:rPr>
              <a:t>NBP100</a:t>
            </a:r>
          </a:p>
        </p:txBody>
      </p:sp>
      <p:sp>
        <p:nvSpPr>
          <p:cNvPr id="26" name="Title 6">
            <a:extLst>
              <a:ext uri="{FF2B5EF4-FFF2-40B4-BE49-F238E27FC236}">
                <a16:creationId xmlns:a16="http://schemas.microsoft.com/office/drawing/2014/main" id="{6CB106FD-2B2C-4852-862F-CC1B8E8AA911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es" noProof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5F2FDFB-6768-0BF2-FCD8-AC4D9A465472}"/>
              </a:ext>
            </a:extLst>
          </p:cNvPr>
          <p:cNvCxnSpPr>
            <a:cxnSpLocks/>
          </p:cNvCxnSpPr>
          <p:nvPr/>
        </p:nvCxnSpPr>
        <p:spPr>
          <a:xfrm>
            <a:off x="4260460" y="2310966"/>
            <a:ext cx="3657600" cy="0"/>
          </a:xfrm>
          <a:prstGeom prst="line">
            <a:avLst/>
          </a:prstGeom>
          <a:ln w="15875">
            <a:solidFill>
              <a:schemeClr val="accent3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15">
            <a:extLst>
              <a:ext uri="{FF2B5EF4-FFF2-40B4-BE49-F238E27FC236}">
                <a16:creationId xmlns:a16="http://schemas.microsoft.com/office/drawing/2014/main" id="{16EF871F-42C4-9E0D-178E-1A45D35B4302}"/>
              </a:ext>
            </a:extLst>
          </p:cNvPr>
          <p:cNvSpPr txBox="1">
            <a:spLocks/>
          </p:cNvSpPr>
          <p:nvPr/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lIns="0" tIns="0" rIns="0" bIns="0"/>
          <a:lstStyle>
            <a:defPPr>
              <a:defRPr lang="es-e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sz="1000" b="0" i="0" u="none" baseline="0">
                <a:solidFill>
                  <a:schemeClr val="bg2"/>
                </a:solidFill>
              </a:rPr>
              <a:t>INFORMACIÓN CONFIDENCIAL DE LA EMPRESA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64F33E-141A-55F8-B340-0B4CAD69797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1C68196-A052-3C6D-2B71-4B15BD4F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s-es" dirty="0"/>
              <a:t>5</a:t>
            </a:r>
            <a:r>
              <a:rPr lang="es-es" b="1" i="0" u="none" baseline="0" dirty="0"/>
              <a:t> | Nueva plataforma para la batería</a:t>
            </a:r>
            <a:endParaRPr lang="es-e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38B41CB-11E3-FCC7-7BDF-80024440682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6252" y="2969233"/>
            <a:ext cx="2508190" cy="20198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B9A617E-817F-6AD7-EC33-3D317640595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7318" y="2969232"/>
            <a:ext cx="2508190" cy="2019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3677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DF9B68-2FE9-4118-7535-BE470A9C3C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0776" y="0"/>
            <a:ext cx="5991224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 algn="l" rtl="0">
              <a:buNone/>
            </a:pPr>
            <a:r>
              <a:rPr lang="es-es" b="0" i="0" u="none" baseline="0">
                <a:solidFill>
                  <a:schemeClr val="bg2">
                    <a:lumMod val="20000"/>
                    <a:lumOff val="80000"/>
                  </a:schemeClr>
                </a:solidFill>
              </a:rPr>
              <a:t>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05B1593-8FEA-87E7-2576-E33EA80097A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6230" y="1726184"/>
            <a:ext cx="3762286" cy="3029714"/>
          </a:xfrm>
          <a:prstGeom prst="rect">
            <a:avLst/>
          </a:prstGeom>
        </p:spPr>
      </p:pic>
      <p:graphicFrame>
        <p:nvGraphicFramePr>
          <p:cNvPr id="15" name="Table 3">
            <a:extLst>
              <a:ext uri="{FF2B5EF4-FFF2-40B4-BE49-F238E27FC236}">
                <a16:creationId xmlns:a16="http://schemas.microsoft.com/office/drawing/2014/main" id="{587C109D-FE63-ADD9-D1D0-747CE8CACB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4274771"/>
              </p:ext>
            </p:extLst>
          </p:nvPr>
        </p:nvGraphicFramePr>
        <p:xfrm>
          <a:off x="475521" y="1412875"/>
          <a:ext cx="5515703" cy="2042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8849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1205618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1205618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  <a:gridCol w="1205618">
                  <a:extLst>
                    <a:ext uri="{9D8B030D-6E8A-4147-A177-3AD203B41FA5}">
                      <a16:colId xmlns:a16="http://schemas.microsoft.com/office/drawing/2014/main" val="3487306242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Especificaciones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Combat 1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NBP60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NBP100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Potencia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 V Li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 V Li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 V Li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Capacidad de la batería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,8 Ah</a:t>
                      </a:r>
                      <a:b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s-e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80 Wh</a:t>
                      </a: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es-es" sz="10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,0 Ah</a:t>
                      </a:r>
                      <a:b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s-e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16 Wh</a:t>
                      </a: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es-es" sz="10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,0 Ah</a:t>
                      </a:r>
                      <a:b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s-e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0 Wh</a:t>
                      </a: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es-es" sz="10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26328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Peso (kg)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,8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Dimensiones largo x ancho x alto (mm)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40x160x70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83x130x73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83x130x73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Cargador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Cargador rápido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rgador rápido </a:t>
                      </a:r>
                      <a:b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BC215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rgador rápido </a:t>
                      </a:r>
                      <a:b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BC215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4991286"/>
                  </a:ext>
                </a:extLst>
              </a:tr>
            </a:tbl>
          </a:graphicData>
        </a:graphic>
      </p:graphicFrame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AD606C3-27D7-F4E5-5351-A55DD3BA0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AD606C3-27D7-F4E5-5351-A55DD3BA0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88DF0AA0-C277-8BB5-B7C5-5BAE76D4979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4D039D0-9C89-4647-C69B-D9A444FACF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5</a:t>
            </a:fld>
            <a:endParaRPr lang="es-es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AD6F595-297F-2A04-A4E4-5FCD1D7B15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es-es" b="0" i="0" u="none" baseline="0"/>
              <a:t>Especificaciones técnicas de la </a:t>
            </a:r>
            <a:r>
              <a:rPr lang="es-es" b="0" i="0" u="none" baseline="0">
                <a:ea typeface="Roboto Light"/>
              </a:rPr>
              <a:t>serie NBP frente a su predecesora</a:t>
            </a:r>
            <a:endParaRPr lang="es-es" noProof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416633A5-6408-E355-2A34-0B5CC43A4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dirty="0"/>
              <a:t>5</a:t>
            </a:r>
            <a:r>
              <a:rPr lang="es-es" b="1" i="0" u="none" baseline="0" dirty="0"/>
              <a:t> | Nueva plataforma para la batería</a:t>
            </a:r>
          </a:p>
        </p:txBody>
      </p:sp>
      <p:cxnSp>
        <p:nvCxnSpPr>
          <p:cNvPr id="3" name="Google Shape;117;p28">
            <a:extLst>
              <a:ext uri="{FF2B5EF4-FFF2-40B4-BE49-F238E27FC236}">
                <a16:creationId xmlns:a16="http://schemas.microsoft.com/office/drawing/2014/main" id="{5BA5DD7F-394A-1A9C-AC70-76DD8842D692}"/>
              </a:ext>
            </a:extLst>
          </p:cNvPr>
          <p:cNvCxnSpPr>
            <a:cxnSpLocks/>
          </p:cNvCxnSpPr>
          <p:nvPr/>
        </p:nvCxnSpPr>
        <p:spPr>
          <a:xfrm flipV="1">
            <a:off x="9247256" y="3950173"/>
            <a:ext cx="1110112" cy="476903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5" name="Google Shape;118;p28">
            <a:extLst>
              <a:ext uri="{FF2B5EF4-FFF2-40B4-BE49-F238E27FC236}">
                <a16:creationId xmlns:a16="http://schemas.microsoft.com/office/drawing/2014/main" id="{779D62AF-951F-80F4-36DE-1723B6E43370}"/>
              </a:ext>
            </a:extLst>
          </p:cNvPr>
          <p:cNvCxnSpPr>
            <a:cxnSpLocks/>
          </p:cNvCxnSpPr>
          <p:nvPr/>
        </p:nvCxnSpPr>
        <p:spPr>
          <a:xfrm>
            <a:off x="10500269" y="2699223"/>
            <a:ext cx="0" cy="971549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8" name="Google Shape;119;p28">
            <a:extLst>
              <a:ext uri="{FF2B5EF4-FFF2-40B4-BE49-F238E27FC236}">
                <a16:creationId xmlns:a16="http://schemas.microsoft.com/office/drawing/2014/main" id="{B9E38E97-2225-527F-FD57-18080A174C34}"/>
              </a:ext>
            </a:extLst>
          </p:cNvPr>
          <p:cNvCxnSpPr>
            <a:cxnSpLocks/>
          </p:cNvCxnSpPr>
          <p:nvPr/>
        </p:nvCxnSpPr>
        <p:spPr>
          <a:xfrm>
            <a:off x="7191232" y="3251673"/>
            <a:ext cx="1406600" cy="107356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9" name="Google Shape;120;p28">
            <a:extLst>
              <a:ext uri="{FF2B5EF4-FFF2-40B4-BE49-F238E27FC236}">
                <a16:creationId xmlns:a16="http://schemas.microsoft.com/office/drawing/2014/main" id="{5F45B4EA-9522-CA68-485C-7ABAD569B40C}"/>
              </a:ext>
            </a:extLst>
          </p:cNvPr>
          <p:cNvSpPr/>
          <p:nvPr/>
        </p:nvSpPr>
        <p:spPr>
          <a:xfrm rot="21598889">
            <a:off x="9882261" y="4172649"/>
            <a:ext cx="914400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200" b="0" i="0" u="none" baseline="0">
                <a:ea typeface="Poppins"/>
                <a:cs typeface="Poppins"/>
                <a:sym typeface="Poppins"/>
              </a:rPr>
              <a:t>130 mm </a:t>
            </a:r>
            <a:br>
              <a:rPr lang="es-es" sz="1200">
                <a:ea typeface="Poppins"/>
                <a:cs typeface="Poppins"/>
                <a:sym typeface="Poppins"/>
              </a:rPr>
            </a:br>
            <a:r>
              <a:rPr lang="es-es" sz="1200" b="0" i="0" u="none" baseline="0">
                <a:ea typeface="Poppins"/>
                <a:cs typeface="Poppins"/>
                <a:sym typeface="Poppins"/>
              </a:rPr>
              <a:t>/ 5,11 pulgadas</a:t>
            </a:r>
          </a:p>
        </p:txBody>
      </p:sp>
      <p:sp>
        <p:nvSpPr>
          <p:cNvPr id="11" name="Google Shape;121;p28">
            <a:extLst>
              <a:ext uri="{FF2B5EF4-FFF2-40B4-BE49-F238E27FC236}">
                <a16:creationId xmlns:a16="http://schemas.microsoft.com/office/drawing/2014/main" id="{4EAE4697-DD27-DDD8-769A-6D07DA8E0866}"/>
              </a:ext>
            </a:extLst>
          </p:cNvPr>
          <p:cNvSpPr/>
          <p:nvPr/>
        </p:nvSpPr>
        <p:spPr>
          <a:xfrm>
            <a:off x="7021641" y="3925915"/>
            <a:ext cx="914400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200" b="0" i="0" u="none" baseline="0">
                <a:ea typeface="Poppins"/>
                <a:cs typeface="Poppins"/>
                <a:sym typeface="Poppins"/>
              </a:rPr>
              <a:t>183 mm </a:t>
            </a:r>
            <a:br>
              <a:rPr lang="es-es" sz="1200">
                <a:ea typeface="Poppins"/>
                <a:cs typeface="Poppins"/>
                <a:sym typeface="Poppins"/>
              </a:rPr>
            </a:br>
            <a:r>
              <a:rPr lang="es-es" sz="1200" b="0" i="0" u="none" baseline="0">
                <a:ea typeface="Poppins"/>
                <a:cs typeface="Poppins"/>
                <a:sym typeface="Poppins"/>
              </a:rPr>
              <a:t>/ 7,20 pulgadas</a:t>
            </a:r>
          </a:p>
        </p:txBody>
      </p:sp>
      <p:sp>
        <p:nvSpPr>
          <p:cNvPr id="13" name="Google Shape;122;p28">
            <a:extLst>
              <a:ext uri="{FF2B5EF4-FFF2-40B4-BE49-F238E27FC236}">
                <a16:creationId xmlns:a16="http://schemas.microsoft.com/office/drawing/2014/main" id="{31F68851-BF78-7AA1-B802-708458D6A3BA}"/>
              </a:ext>
            </a:extLst>
          </p:cNvPr>
          <p:cNvSpPr/>
          <p:nvPr/>
        </p:nvSpPr>
        <p:spPr>
          <a:xfrm rot="21598889">
            <a:off x="10500343" y="3014043"/>
            <a:ext cx="914400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200" b="0" i="0" u="none" baseline="0">
                <a:ea typeface="Poppins"/>
                <a:cs typeface="Poppins"/>
                <a:sym typeface="Poppins"/>
              </a:rPr>
              <a:t>73 mm / </a:t>
            </a:r>
            <a:br>
              <a:rPr lang="es-es" sz="1200">
                <a:ea typeface="Poppins"/>
                <a:cs typeface="Poppins"/>
                <a:sym typeface="Poppins"/>
              </a:rPr>
            </a:br>
            <a:r>
              <a:rPr lang="es-es" sz="1200" b="0" i="0" u="none" baseline="0">
                <a:ea typeface="Poppins"/>
                <a:cs typeface="Poppins"/>
                <a:sym typeface="Poppins"/>
              </a:rPr>
              <a:t>2,87 pulg.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BF51C4C-C811-CF48-5AE8-603BD4A014CB}"/>
              </a:ext>
            </a:extLst>
          </p:cNvPr>
          <p:cNvSpPr txBox="1"/>
          <p:nvPr/>
        </p:nvSpPr>
        <p:spPr>
          <a:xfrm>
            <a:off x="6203212" y="5814479"/>
            <a:ext cx="5988787" cy="468846"/>
          </a:xfrm>
          <a:prstGeom prst="rect">
            <a:avLst/>
          </a:prstGeom>
          <a:noFill/>
        </p:spPr>
        <p:txBody>
          <a:bodyPr wrap="square" lIns="0" tIns="0" rIns="0" bIns="182880" anchor="b" anchorCtr="0">
            <a:spAutoFit/>
          </a:bodyPr>
          <a:lstStyle/>
          <a:p>
            <a:pPr algn="ctr" rtl="0">
              <a:lnSpc>
                <a:spcPct val="120000"/>
              </a:lnSpc>
              <a:defRPr/>
            </a:pPr>
            <a:r>
              <a:rPr lang="es-es" sz="800" b="0" i="0" u="none" baseline="0">
                <a:solidFill>
                  <a:schemeClr val="tx2"/>
                </a:solidFill>
                <a:ea typeface="Roboto Light"/>
                <a:cs typeface="Roboto Light"/>
              </a:rPr>
              <a:t>Elementos visuales de la NBP60 - mismo tamaño e interfaz que la NBP100</a:t>
            </a:r>
            <a:br>
              <a:rPr lang="es-es" sz="800">
                <a:solidFill>
                  <a:schemeClr val="tx2"/>
                </a:solidFill>
                <a:ea typeface="Roboto Light"/>
                <a:cs typeface="Roboto Light"/>
              </a:rPr>
            </a:br>
            <a:r>
              <a:rPr lang="es-es" sz="800" b="0" i="0" u="none" baseline="0">
                <a:solidFill>
                  <a:schemeClr val="tx2"/>
                </a:solidFill>
                <a:ea typeface="Roboto Light"/>
                <a:cs typeface="Roboto Light"/>
              </a:rPr>
              <a:t>- Más detalles en la presentación específica de la NBP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665B3BA-4F0C-D510-1BA4-91B3BFC54D03}"/>
              </a:ext>
            </a:extLst>
          </p:cNvPr>
          <p:cNvSpPr txBox="1"/>
          <p:nvPr/>
        </p:nvSpPr>
        <p:spPr>
          <a:xfrm>
            <a:off x="479425" y="3670772"/>
            <a:ext cx="5498623" cy="1388585"/>
          </a:xfrm>
          <a:prstGeom prst="rect">
            <a:avLst/>
          </a:prstGeom>
          <a:noFill/>
        </p:spPr>
        <p:txBody>
          <a:bodyPr wrap="square" lIns="0" tIns="91440" rIns="0" bIns="0">
            <a:spAutoFit/>
          </a:bodyPr>
          <a:lstStyle/>
          <a:p>
            <a:pPr marL="201168" indent="-201168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s-es" sz="1200" b="0" i="0" u="none" baseline="0">
                <a:ea typeface="Roboto Light"/>
                <a:cs typeface="Roboto Light"/>
              </a:rPr>
              <a:t>Peso más ligero</a:t>
            </a:r>
          </a:p>
          <a:p>
            <a:pPr marL="201168" indent="-201168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s-es" sz="1200" b="0" i="0" u="none" baseline="0">
                <a:ea typeface="Roboto Light"/>
                <a:cs typeface="Roboto Light"/>
              </a:rPr>
              <a:t>Diseño más compacto y escalable</a:t>
            </a:r>
          </a:p>
          <a:p>
            <a:pPr marL="201168" indent="-201168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s-es" sz="1200" b="0" i="0" u="none" baseline="0">
                <a:ea typeface="Roboto Light"/>
                <a:cs typeface="Roboto Light"/>
              </a:rPr>
              <a:t> Mejoras en la UX e IU </a:t>
            </a:r>
            <a:r>
              <a:rPr lang="es-es" sz="1200" b="0" i="0" u="none" baseline="0">
                <a:ea typeface="Roboto Light"/>
                <a:cs typeface="Roboto Light"/>
                <a:sym typeface="Wingdings" panose="05000000000000000000" pitchFamily="2" charset="2"/>
              </a:rPr>
              <a:t> </a:t>
            </a:r>
            <a:r>
              <a:rPr lang="es-es" sz="1200" b="0" i="0" u="none" baseline="0">
                <a:ea typeface="Roboto Light"/>
                <a:cs typeface="Roboto Light"/>
              </a:rPr>
              <a:t>asa superior y botón de liberación en color</a:t>
            </a:r>
          </a:p>
          <a:p>
            <a:pPr marL="201168" indent="-201168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s-es" sz="1200" b="0" i="0" u="none" baseline="0">
                <a:ea typeface="Roboto Light"/>
                <a:cs typeface="Roboto Light"/>
              </a:rPr>
              <a:t>Mejora de la escalabilidad </a:t>
            </a:r>
            <a:r>
              <a:rPr lang="es-es" sz="1200" b="0" i="0" u="none" baseline="0">
                <a:ea typeface="Roboto Light"/>
                <a:cs typeface="Roboto Light"/>
                <a:sym typeface="Wingdings" panose="05000000000000000000" pitchFamily="2" charset="2"/>
              </a:rPr>
              <a:t> del posicionamiento; diferencia en los niveles de rendimiento/precio</a:t>
            </a:r>
          </a:p>
          <a:p>
            <a:pPr marL="201168" indent="-201168" algn="l" rtl="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s-es" sz="1200" b="0" i="0" u="none" baseline="0">
                <a:ea typeface="Roboto Light"/>
                <a:cs typeface="Roboto Light"/>
                <a:sym typeface="Wingdings" panose="05000000000000000000" pitchFamily="2" charset="2"/>
              </a:rPr>
              <a:t>LED de notificación/advertencia en la batería (triángulo)</a:t>
            </a:r>
            <a:endParaRPr lang="es-es" sz="1200" noProof="0"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181647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CD67AD-D593-CC3F-0869-BC025BA75A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E6B442-E57C-417D-8B9B-24974A7E61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0776" y="0"/>
            <a:ext cx="5991224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 algn="l" rtl="0">
              <a:buNone/>
            </a:pPr>
            <a:r>
              <a:rPr lang="es-es" b="0" i="0" u="none" baseline="0"/>
              <a:t> 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FA33E8A2-DF37-BB77-4B5D-0FC36AED36D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6230" y="1802384"/>
            <a:ext cx="3871492" cy="2684952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A7BD3E55-ED3C-F29A-97C8-50EC633D6B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A7BD3E55-ED3C-F29A-97C8-50EC633D6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47308856-AEFE-3D23-714C-A772510E542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017F1F7B-F349-3D9D-692E-C93A6FDABB0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6</a:t>
            </a:fld>
            <a:endParaRPr lang="es-es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AC9FAA4-CFD2-101D-1E70-A01C40B0D7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6226037" cy="376456"/>
          </a:xfrm>
        </p:spPr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es-es" b="0" i="0" u="none" baseline="0"/>
              <a:t>Especificaciones técnicas del </a:t>
            </a:r>
            <a:r>
              <a:rPr lang="es-es" b="0" i="0" u="none" baseline="0">
                <a:ea typeface="Roboto Light"/>
              </a:rPr>
              <a:t>nuevo cargador– NBC215</a:t>
            </a:r>
            <a:endParaRPr lang="es-es" noProof="0" dirty="0"/>
          </a:p>
        </p:txBody>
      </p:sp>
      <p:cxnSp>
        <p:nvCxnSpPr>
          <p:cNvPr id="4" name="Google Shape;117;p28">
            <a:extLst>
              <a:ext uri="{FF2B5EF4-FFF2-40B4-BE49-F238E27FC236}">
                <a16:creationId xmlns:a16="http://schemas.microsoft.com/office/drawing/2014/main" id="{FBF27F0E-69B9-C58C-EF8F-878413516E3C}"/>
              </a:ext>
            </a:extLst>
          </p:cNvPr>
          <p:cNvCxnSpPr>
            <a:cxnSpLocks/>
          </p:cNvCxnSpPr>
          <p:nvPr/>
        </p:nvCxnSpPr>
        <p:spPr>
          <a:xfrm flipV="1">
            <a:off x="9108009" y="3848320"/>
            <a:ext cx="1446865" cy="603624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7" name="Google Shape;118;p28">
            <a:extLst>
              <a:ext uri="{FF2B5EF4-FFF2-40B4-BE49-F238E27FC236}">
                <a16:creationId xmlns:a16="http://schemas.microsoft.com/office/drawing/2014/main" id="{BB9D0729-6DBF-2604-BD65-69BED5E700DA}"/>
              </a:ext>
            </a:extLst>
          </p:cNvPr>
          <p:cNvCxnSpPr>
            <a:cxnSpLocks/>
          </p:cNvCxnSpPr>
          <p:nvPr/>
        </p:nvCxnSpPr>
        <p:spPr>
          <a:xfrm>
            <a:off x="10646187" y="2696761"/>
            <a:ext cx="0" cy="85161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10" name="Google Shape;119;p28">
            <a:extLst>
              <a:ext uri="{FF2B5EF4-FFF2-40B4-BE49-F238E27FC236}">
                <a16:creationId xmlns:a16="http://schemas.microsoft.com/office/drawing/2014/main" id="{3714ED22-3DC2-3170-82A0-922E10C0DE86}"/>
              </a:ext>
            </a:extLst>
          </p:cNvPr>
          <p:cNvCxnSpPr>
            <a:cxnSpLocks/>
          </p:cNvCxnSpPr>
          <p:nvPr/>
        </p:nvCxnSpPr>
        <p:spPr>
          <a:xfrm>
            <a:off x="7012982" y="3311540"/>
            <a:ext cx="1406600" cy="107356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12" name="Google Shape;120;p28">
            <a:extLst>
              <a:ext uri="{FF2B5EF4-FFF2-40B4-BE49-F238E27FC236}">
                <a16:creationId xmlns:a16="http://schemas.microsoft.com/office/drawing/2014/main" id="{BF9212B0-DB00-8B88-EF39-8231CCC8CAAE}"/>
              </a:ext>
            </a:extLst>
          </p:cNvPr>
          <p:cNvSpPr/>
          <p:nvPr/>
        </p:nvSpPr>
        <p:spPr>
          <a:xfrm rot="21598889">
            <a:off x="9955492" y="4174498"/>
            <a:ext cx="914400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200" b="0" i="0" u="none" baseline="0">
                <a:ea typeface="Poppins"/>
                <a:cs typeface="Poppins"/>
                <a:sym typeface="Poppins"/>
              </a:rPr>
              <a:t>189 mm / </a:t>
            </a:r>
            <a:br>
              <a:rPr lang="es-es" sz="1200">
                <a:ea typeface="Poppins"/>
                <a:cs typeface="Poppins"/>
                <a:sym typeface="Poppins"/>
              </a:rPr>
            </a:br>
            <a:r>
              <a:rPr lang="es-es" sz="1200" b="0" i="0" u="none" baseline="0">
                <a:ea typeface="Poppins"/>
                <a:cs typeface="Poppins"/>
                <a:sym typeface="Poppins"/>
              </a:rPr>
              <a:t>7,20 pulgadas</a:t>
            </a:r>
          </a:p>
        </p:txBody>
      </p:sp>
      <p:sp>
        <p:nvSpPr>
          <p:cNvPr id="14" name="Google Shape;121;p28">
            <a:extLst>
              <a:ext uri="{FF2B5EF4-FFF2-40B4-BE49-F238E27FC236}">
                <a16:creationId xmlns:a16="http://schemas.microsoft.com/office/drawing/2014/main" id="{82874251-53AF-7CA6-A8B7-B40BC0B10C3A}"/>
              </a:ext>
            </a:extLst>
          </p:cNvPr>
          <p:cNvSpPr/>
          <p:nvPr/>
        </p:nvSpPr>
        <p:spPr>
          <a:xfrm>
            <a:off x="6871575" y="3922684"/>
            <a:ext cx="914400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200" b="0" i="0" u="none" baseline="0">
                <a:ea typeface="Poppins"/>
                <a:cs typeface="Poppins"/>
                <a:sym typeface="Poppins"/>
              </a:rPr>
              <a:t>211 mm / </a:t>
            </a:r>
            <a:br>
              <a:rPr lang="es-es" sz="1200">
                <a:ea typeface="Poppins"/>
                <a:cs typeface="Poppins"/>
                <a:sym typeface="Poppins"/>
              </a:rPr>
            </a:br>
            <a:r>
              <a:rPr lang="es-es" sz="1200" b="0" i="0" u="none" baseline="0">
                <a:ea typeface="Poppins"/>
                <a:cs typeface="Poppins"/>
                <a:sym typeface="Poppins"/>
              </a:rPr>
              <a:t>8,30 pulgadas</a:t>
            </a:r>
          </a:p>
        </p:txBody>
      </p:sp>
      <p:sp>
        <p:nvSpPr>
          <p:cNvPr id="21" name="Google Shape;122;p28">
            <a:extLst>
              <a:ext uri="{FF2B5EF4-FFF2-40B4-BE49-F238E27FC236}">
                <a16:creationId xmlns:a16="http://schemas.microsoft.com/office/drawing/2014/main" id="{3FD37C9A-4326-153A-B0E3-73B5241C50D9}"/>
              </a:ext>
            </a:extLst>
          </p:cNvPr>
          <p:cNvSpPr/>
          <p:nvPr/>
        </p:nvSpPr>
        <p:spPr>
          <a:xfrm rot="21598889">
            <a:off x="10646259" y="2953491"/>
            <a:ext cx="914400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200" b="0" i="0" u="none" baseline="0">
                <a:ea typeface="Poppins"/>
                <a:cs typeface="Poppins"/>
                <a:sym typeface="Poppins"/>
              </a:rPr>
              <a:t>81 mm / </a:t>
            </a:r>
            <a:br>
              <a:rPr lang="es-es" sz="1200">
                <a:ea typeface="Poppins"/>
                <a:cs typeface="Poppins"/>
                <a:sym typeface="Poppins"/>
              </a:rPr>
            </a:br>
            <a:r>
              <a:rPr lang="es-es" sz="1200" b="0" i="0" u="none" baseline="0">
                <a:ea typeface="Poppins"/>
                <a:cs typeface="Poppins"/>
                <a:sym typeface="Poppins"/>
              </a:rPr>
              <a:t>3,18 pulgadas</a:t>
            </a:r>
          </a:p>
        </p:txBody>
      </p:sp>
      <p:graphicFrame>
        <p:nvGraphicFramePr>
          <p:cNvPr id="22" name="Table 3">
            <a:extLst>
              <a:ext uri="{FF2B5EF4-FFF2-40B4-BE49-F238E27FC236}">
                <a16:creationId xmlns:a16="http://schemas.microsoft.com/office/drawing/2014/main" id="{7533B533-94B8-A6B1-5BF0-D5C7C38E83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052566"/>
              </p:ext>
            </p:extLst>
          </p:nvPr>
        </p:nvGraphicFramePr>
        <p:xfrm>
          <a:off x="475521" y="1416050"/>
          <a:ext cx="5515704" cy="195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72604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1943100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Especificaciones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Cargador rápido NBC215 de 36 V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Plataforma de la batería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rie NBP de 36V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Corriente de carga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áx. 5A</a:t>
                      </a:r>
                      <a:endParaRPr kumimoji="0" lang="es-es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26328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Alimentación (V/hz)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-240 / 50-60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716153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Tiempo de carga (min. aprox.) NBP60</a:t>
                      </a:r>
                      <a:r>
                        <a:rPr lang="es-es" sz="1000" b="1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 - 80 % / 90 % / 100%</a:t>
                      </a:r>
                      <a:endParaRPr lang="es-es" sz="1000" b="1" noProof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5 / 65 / 80</a:t>
                      </a:r>
                      <a:endParaRPr kumimoji="0" lang="es-e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Tiempo de carga (min. aprox.) </a:t>
                      </a:r>
                      <a:r>
                        <a:rPr lang="es-es" sz="1000" b="0" i="0" u="non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BP100</a:t>
                      </a:r>
                      <a:r>
                        <a:rPr lang="es-es" sz="1000" b="1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 - 80 % / 90 % / 100 %</a:t>
                      </a:r>
                      <a:endParaRPr lang="es-es" sz="1000" b="1" noProof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 / 100 / 130</a:t>
                      </a:r>
                      <a:endParaRPr kumimoji="0" lang="es-e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Peso (kg)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47751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/>
                      <a:r>
                        <a:rPr lang="es-es" sz="10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Dimensiones largo x ancho x alto (mm)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11x189x81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</a:tbl>
          </a:graphicData>
        </a:graphic>
      </p:graphicFrame>
      <p:sp>
        <p:nvSpPr>
          <p:cNvPr id="11" name="Title 3">
            <a:extLst>
              <a:ext uri="{FF2B5EF4-FFF2-40B4-BE49-F238E27FC236}">
                <a16:creationId xmlns:a16="http://schemas.microsoft.com/office/drawing/2014/main" id="{66713960-CAF3-3B29-8254-19978BE933A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79425" y="493713"/>
            <a:ext cx="6222133" cy="388937"/>
          </a:xfrm>
        </p:spPr>
        <p:txBody>
          <a:bodyPr vert="horz"/>
          <a:lstStyle/>
          <a:p>
            <a:pPr algn="l" rtl="0"/>
            <a:r>
              <a:rPr lang="es-es" dirty="0"/>
              <a:t>5</a:t>
            </a:r>
            <a:r>
              <a:rPr lang="es-es" b="1" i="0" u="none" baseline="0" dirty="0"/>
              <a:t> | Nueva plataforma para la batería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6FE4D2D-95EB-A819-171A-B5947E4533F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0137" y="3823407"/>
            <a:ext cx="3163428" cy="198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18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567DF9-BEC5-2F69-8BB9-794CA52995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527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8E2962-6E4E-7912-3EC2-54BCA55F53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E3F0F7-A3E6-D62A-A7B1-5958A8B36E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s-es" b="1" i="0" u="none" baseline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EA707590-7DB6-6B2D-50F8-D0EE5FA4A254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E4CB64E7-1426-1F11-0ACF-E9B7A12E6056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</a:t>
            </a:fld>
            <a:endParaRPr lang="es-es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BC7C437D-B9BF-F32A-8C55-4F67F6A0E71E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dirty="0"/>
              <a:t>Introducción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D8C7C7B1-AA8F-4612-7EC3-7166BF25D64F}"/>
              </a:ext>
            </a:extLst>
          </p:cNvPr>
          <p:cNvSpPr txBox="1">
            <a:spLocks/>
          </p:cNvSpPr>
          <p:nvPr/>
        </p:nvSpPr>
        <p:spPr>
          <a:xfrm>
            <a:off x="1968167" y="2222844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dirty="0">
                <a:solidFill>
                  <a:schemeClr val="bg2"/>
                </a:solidFill>
              </a:rPr>
              <a:t>Segmentos de client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53D81935-6485-59B7-DBC8-4CCE8E517074}"/>
              </a:ext>
            </a:extLst>
          </p:cNvPr>
          <p:cNvSpPr txBox="1">
            <a:spLocks/>
          </p:cNvSpPr>
          <p:nvPr/>
        </p:nvSpPr>
        <p:spPr>
          <a:xfrm>
            <a:off x="1968167" y="3064563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 dirty="0">
                <a:solidFill>
                  <a:schemeClr val="bg2"/>
                </a:solidFill>
              </a:rPr>
              <a:t>Nuevo aspirador con batería</a:t>
            </a:r>
            <a:endParaRPr lang="es-es" dirty="0">
              <a:solidFill>
                <a:schemeClr val="bg2"/>
              </a:solidFill>
            </a:endParaRPr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79B116F1-5BE1-61FD-68D3-55A955FB23AB}"/>
              </a:ext>
            </a:extLst>
          </p:cNvPr>
          <p:cNvSpPr txBox="1">
            <a:spLocks/>
          </p:cNvSpPr>
          <p:nvPr/>
        </p:nvSpPr>
        <p:spPr>
          <a:xfrm>
            <a:off x="1968167" y="3906282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>
                <a:solidFill>
                  <a:schemeClr val="bg2"/>
                </a:solidFill>
              </a:rPr>
              <a:t>Argumentos de venta principa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6A09F31F-3F75-C502-D12E-AA8061FE17F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4748001"/>
            <a:ext cx="4018296" cy="698238"/>
          </a:xfrm>
        </p:spPr>
        <p:txBody>
          <a:bodyPr/>
          <a:lstStyle/>
          <a:p>
            <a:pPr algn="l" rtl="0">
              <a:lnSpc>
                <a:spcPct val="120000"/>
              </a:lnSpc>
            </a:pPr>
            <a:r>
              <a:rPr lang="es-es" b="0" i="0" u="none" baseline="0" dirty="0">
                <a:solidFill>
                  <a:schemeClr val="bg2"/>
                </a:solidFill>
              </a:rPr>
              <a:t>Otro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2FD10A02-D8CC-3A46-600E-6D553AED52BD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1</a:t>
            </a:r>
            <a:endParaRPr lang="es-es" dirty="0"/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87F40E6-B87B-F145-7D3C-6B4150E31B7C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2</a:t>
            </a:r>
            <a:endParaRPr lang="es-es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8DE12365-95AF-A27A-F86F-C7A2378C90F7}"/>
              </a:ext>
            </a:extLst>
          </p:cNvPr>
          <p:cNvSpPr txBox="1">
            <a:spLocks/>
          </p:cNvSpPr>
          <p:nvPr/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3</a:t>
            </a:r>
            <a:endParaRPr lang="es-es" dirty="0"/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C9B7601F-FDA3-9E67-2AEA-CCFC6CD8B939}"/>
              </a:ext>
            </a:extLst>
          </p:cNvPr>
          <p:cNvSpPr txBox="1">
            <a:spLocks/>
          </p:cNvSpPr>
          <p:nvPr/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4</a:t>
            </a:r>
            <a:endParaRPr lang="es-es" dirty="0"/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3F1F1932-EF83-E66C-7C4C-EFB65737A6AA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4748001"/>
            <a:ext cx="698400" cy="698238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pPr rtl="0"/>
            <a:r>
              <a:rPr lang="es-es" b="1" i="0" u="none" baseline="0"/>
              <a:t>5</a:t>
            </a:r>
          </a:p>
        </p:txBody>
      </p:sp>
      <p:pic>
        <p:nvPicPr>
          <p:cNvPr id="7" name="Picture Placeholder 21" descr="A person vacuuming the floor&#10;&#10;AI-generated content may be incorrect.">
            <a:extLst>
              <a:ext uri="{FF2B5EF4-FFF2-40B4-BE49-F238E27FC236}">
                <a16:creationId xmlns:a16="http://schemas.microsoft.com/office/drawing/2014/main" id="{60465222-EB7F-AEBE-4A0C-C367AED4F96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05539" y="0"/>
            <a:ext cx="5986461" cy="6273800"/>
          </a:xfrm>
        </p:spPr>
      </p:pic>
    </p:spTree>
    <p:extLst>
      <p:ext uri="{BB962C8B-B14F-4D97-AF65-F5344CB8AC3E}">
        <p14:creationId xmlns:p14="http://schemas.microsoft.com/office/powerpoint/2010/main" val="3818941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25B4BD-C1E1-2042-8C5C-3B0E5BDF63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2984913-01F6-C2FD-5E23-7E7A54CAB2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8" progId="TCLayout.ActiveDocument.1">
                  <p:embed/>
                </p:oleObj>
              </mc:Choice>
              <mc:Fallback>
                <p:oleObj name="think-cell Slide" r:id="rId3" imgW="287" imgH="28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984913-01F6-C2FD-5E23-7E7A54CAB2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B4D54829-346F-B97F-FE95-6B802B452E6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2015"/>
          </a:xfrm>
        </p:spPr>
        <p:txBody>
          <a:bodyPr bIns="91440"/>
          <a:lstStyle/>
          <a:p>
            <a:pPr marL="0" indent="0" algn="l" rtl="0">
              <a:lnSpc>
                <a:spcPct val="120000"/>
              </a:lnSpc>
              <a:spcBef>
                <a:spcPts val="600"/>
              </a:spcBef>
              <a:buNone/>
            </a:pPr>
            <a:r>
              <a:rPr lang="es-es" sz="1200" dirty="0"/>
              <a:t>El</a:t>
            </a:r>
            <a:r>
              <a:rPr lang="es-es" sz="1200" b="0" i="0" u="none" baseline="0" dirty="0"/>
              <a:t>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ERO B </a:t>
            </a:r>
            <a:r>
              <a:rPr lang="es-es" sz="1200" b="0" i="0" u="none" baseline="0" dirty="0"/>
              <a:t>completa ahora la gama Nilfisk </a:t>
            </a:r>
            <a:r>
              <a:rPr lang="es-es" sz="1200" b="0" i="0" u="none" baseline="0" dirty="0" err="1"/>
              <a:t>LightIVac</a:t>
            </a:r>
            <a:r>
              <a:rPr lang="es-es" sz="1200" b="0" i="0" u="none" baseline="0" dirty="0"/>
              <a:t> con versiones inalámbricas y con batería. Además de las diferentes versiones de país, la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ERO B </a:t>
            </a:r>
            <a:r>
              <a:rPr lang="es-es" sz="1200" b="0" i="0" u="none" baseline="0" dirty="0"/>
              <a:t>está disponible como </a:t>
            </a:r>
            <a:r>
              <a:rPr lang="es-es" sz="1200" b="0" i="0" u="none" baseline="0" dirty="0" err="1"/>
              <a:t>SafetyVac</a:t>
            </a:r>
            <a:r>
              <a:rPr lang="es-es" sz="1200" b="0" i="0" u="none" baseline="0" dirty="0"/>
              <a:t> en las versiones de clase L y clase M.</a:t>
            </a:r>
            <a:endParaRPr lang="es-es" sz="1200" dirty="0"/>
          </a:p>
          <a:p>
            <a:pPr marL="0" indent="0" algn="l" rtl="0">
              <a:lnSpc>
                <a:spcPct val="120000"/>
              </a:lnSpc>
              <a:spcBef>
                <a:spcPts val="600"/>
              </a:spcBef>
              <a:buNone/>
            </a:pPr>
            <a:r>
              <a:rPr lang="es-es" sz="1200" b="0" i="0" u="none" baseline="0" dirty="0"/>
              <a:t>En comparación con muchos aspiradores inalámbricos que se encuentran actualmente en el mercado, la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ERO B </a:t>
            </a:r>
            <a:r>
              <a:rPr lang="es-es" sz="1200" b="0" i="0" u="none" baseline="0" dirty="0"/>
              <a:t>es un auténtico </a:t>
            </a:r>
            <a:r>
              <a:rPr lang="es-es" sz="1200" b="0" i="0" u="none" baseline="0" dirty="0" err="1"/>
              <a:t>LightIVac</a:t>
            </a:r>
            <a:r>
              <a:rPr lang="es-es" sz="1200" b="0" i="0" u="none" baseline="0" dirty="0"/>
              <a:t>, diseñado para entornos de trabajo exigentes y para uso en húmedo y en seco.</a:t>
            </a:r>
          </a:p>
          <a:p>
            <a:pPr marL="0" indent="0" algn="l" rtl="0">
              <a:lnSpc>
                <a:spcPct val="120000"/>
              </a:lnSpc>
              <a:spcBef>
                <a:spcPts val="600"/>
              </a:spcBef>
              <a:buNone/>
            </a:pPr>
            <a:r>
              <a:rPr lang="es-es" sz="1200" b="0" i="0" u="none" baseline="0" dirty="0"/>
              <a:t>La nueva batería desarrollada por Nilfisk (NBP60 y NBP100) es única y desempeña un papel importante en este sentido. Esta batería se ha desarrollado exclusivamente para los requisitos de los equipos de limpieza y no para las herramientas eléctricas de la mayoría de nuestros competidores.</a:t>
            </a:r>
            <a:endParaRPr lang="es-es" sz="1200" dirty="0"/>
          </a:p>
          <a:p>
            <a:pPr marL="0" indent="0" algn="l" rtl="0">
              <a:lnSpc>
                <a:spcPct val="120000"/>
              </a:lnSpc>
              <a:spcBef>
                <a:spcPts val="600"/>
              </a:spcBef>
              <a:buNone/>
            </a:pP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ERO B</a:t>
            </a:r>
          </a:p>
          <a:p>
            <a:pPr marL="201168" lvl="1" algn="l" rtl="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es" sz="1200" b="0" i="0" u="none" baseline="0" dirty="0"/>
              <a:t>La nueva fórmula para la libertad: alto rendimiento sin cables. Aspiración accionada por batería con una potencia de succión superior que garantiza la máxima eficiencia para cualquier tarea de limpieza, en húmedo y en seco</a:t>
            </a:r>
          </a:p>
          <a:p>
            <a:pPr marL="201168" lvl="1" algn="l" rtl="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es" sz="1200" b="0" i="0" u="none" baseline="0" dirty="0"/>
              <a:t>Alto rendimiento en términos de flujo de aire y autonomía</a:t>
            </a:r>
            <a:endParaRPr lang="es-es" altLang="da-DK" sz="1200" dirty="0"/>
          </a:p>
          <a:p>
            <a:pPr marL="201168" lvl="1" algn="l" rtl="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es" sz="1200" b="0" i="0" u="none" baseline="0" dirty="0"/>
              <a:t>Batería de carga rápida y de intercambio en caliente para un uso continuo</a:t>
            </a:r>
            <a:endParaRPr lang="es-es" sz="1200" dirty="0"/>
          </a:p>
          <a:p>
            <a:pPr marL="0" indent="0" algn="l" rtl="0">
              <a:lnSpc>
                <a:spcPct val="120000"/>
              </a:lnSpc>
              <a:spcBef>
                <a:spcPts val="600"/>
              </a:spcBef>
              <a:buNone/>
            </a:pPr>
            <a:r>
              <a:rPr lang="es-es" sz="1200" b="0" i="0" u="none" baseline="0" dirty="0"/>
              <a:t>La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ERO B </a:t>
            </a:r>
            <a:r>
              <a:rPr lang="es-es" sz="1200" b="0" i="0" u="none" baseline="0" dirty="0"/>
              <a:t>establece un nuevo estándar en lo que respecta a los </a:t>
            </a:r>
            <a:r>
              <a:rPr lang="es-es" sz="1200" b="0" i="0" u="none" baseline="0" dirty="0" err="1"/>
              <a:t>LightIVac</a:t>
            </a:r>
            <a:r>
              <a:rPr lang="es-es" sz="1200" b="0" i="0" u="none" baseline="0" dirty="0"/>
              <a:t> alimentados por batería.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37166CC4-A8F1-ED51-B77E-FA1DC0549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4</a:t>
            </a:fld>
            <a:endParaRPr lang="es-es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D470497A-35EA-4063-D8E0-63A3A5D691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 dirty="0"/>
              <a:t>Primer </a:t>
            </a:r>
            <a:r>
              <a:rPr lang="es-es" b="0" i="0" u="none" baseline="0" dirty="0" err="1"/>
              <a:t>LightIvac</a:t>
            </a:r>
            <a:r>
              <a:rPr lang="es-es" b="0" i="0" u="none" baseline="0" dirty="0"/>
              <a:t> </a:t>
            </a:r>
            <a:r>
              <a:rPr lang="es-es" dirty="0"/>
              <a:t>sin cable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95001E5C-677E-A505-7428-67374FDDE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 dirty="0"/>
              <a:t>1 | Contexto: AERO </a:t>
            </a:r>
            <a:r>
              <a:rPr lang="es-es" dirty="0" err="1"/>
              <a:t>Battery</a:t>
            </a:r>
            <a:endParaRPr lang="es-e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617927-26B2-A6E1-FB3C-DB0220E8422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8423" y="1524240"/>
            <a:ext cx="3809524" cy="38095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E2D5321-3240-3386-CE7D-D67B6CC5F3C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476" y="1524238"/>
            <a:ext cx="3809524" cy="3809524"/>
          </a:xfrm>
          <a:prstGeom prst="rect">
            <a:avLst/>
          </a:prstGeom>
        </p:spPr>
      </p:pic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357912DA-CBE9-96DE-E661-A32FEC32DE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</p:spTree>
    <p:extLst>
      <p:ext uri="{BB962C8B-B14F-4D97-AF65-F5344CB8AC3E}">
        <p14:creationId xmlns:p14="http://schemas.microsoft.com/office/powerpoint/2010/main" val="3759059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C1F398-096B-BFF7-F587-8D9EA8DF27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30EA67E-7CDA-1E85-A1C6-932F6054FF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8" progId="TCLayout.ActiveDocument.1">
                  <p:embed/>
                </p:oleObj>
              </mc:Choice>
              <mc:Fallback>
                <p:oleObj name="think-cell Slide" r:id="rId3" imgW="287" imgH="28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0EA67E-7CDA-1E85-A1C6-932F6054FF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06441810-86A3-B6E8-25D2-B994E8FDA8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5521" y="1412875"/>
            <a:ext cx="5510942" cy="4860925"/>
          </a:xfrm>
        </p:spPr>
        <p:txBody>
          <a:bodyPr bIns="91440"/>
          <a:lstStyle/>
          <a:p>
            <a:pPr marL="0" indent="0" algn="l" rtl="0">
              <a:lnSpc>
                <a:spcPct val="120000"/>
              </a:lnSpc>
              <a:spcBef>
                <a:spcPts val="600"/>
              </a:spcBef>
              <a:buNone/>
            </a:pPr>
            <a:r>
              <a:rPr lang="es-es" sz="1200" b="0" i="0" u="none" baseline="0" dirty="0"/>
              <a:t>Nilfisk decidió desarrollar su propia batería de alto rendimiento diseñada exclusivamente para la industria de la limpieza y sus requisitos específicos. Esta decisión llevó a la creación de una generación de baterías que convencen por su rendimiento, sostenibilidad y fiabilidad. Esto distingue a la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NBP</a:t>
            </a:r>
            <a:r>
              <a:rPr lang="es-es" sz="1200" b="1" i="0" u="none" baseline="0" dirty="0"/>
              <a:t> </a:t>
            </a:r>
            <a:r>
              <a:rPr lang="es-es" sz="1200" b="0" i="0" u="none" baseline="0" dirty="0"/>
              <a:t>de la mayoría de las baterías universales disponibles en el mercado, que se utilizan en una amplia variedad de aparatos eléctricos.</a:t>
            </a:r>
          </a:p>
          <a:p>
            <a:pPr marL="0" indent="0" algn="l" rtl="0">
              <a:lnSpc>
                <a:spcPct val="120000"/>
              </a:lnSpc>
              <a:spcBef>
                <a:spcPts val="600"/>
              </a:spcBef>
              <a:buNone/>
            </a:pPr>
            <a:r>
              <a:rPr lang="es-es" sz="1200" b="0" i="0" u="none" baseline="0" dirty="0"/>
              <a:t>La batería AERO se suministra de serie con la versión de 6 Ah del NBP, aunque hay disponible una versión de 10 Ah como opción.</a:t>
            </a:r>
          </a:p>
          <a:p>
            <a:pPr marL="0" indent="0" algn="l" rtl="0">
              <a:lnSpc>
                <a:spcPct val="120000"/>
              </a:lnSpc>
              <a:spcBef>
                <a:spcPts val="600"/>
              </a:spcBef>
              <a:buNone/>
            </a:pPr>
            <a:r>
              <a:rPr lang="es-es" sz="1200" b="0" i="0" u="none" baseline="0" dirty="0"/>
              <a:t>El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NBP</a:t>
            </a:r>
            <a:r>
              <a:rPr lang="es-es" sz="1200" b="0" i="0" u="none" baseline="0" dirty="0"/>
              <a:t> también se  puede cargar con un cargador desarrollado internamente.</a:t>
            </a:r>
            <a:r>
              <a:rPr lang="es-es" sz="1200" b="1" i="0" u="none" baseline="0" dirty="0"/>
              <a:t> </a:t>
            </a:r>
            <a:r>
              <a:rPr lang="es-es" sz="1200" b="0" i="0" u="none" baseline="0" dirty="0"/>
              <a:t>Este </a:t>
            </a:r>
            <a:r>
              <a:rPr lang="es-es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NBC215</a:t>
            </a:r>
            <a:r>
              <a:rPr lang="es-es" sz="1200" b="1" i="0" u="none" baseline="0" dirty="0"/>
              <a:t> </a:t>
            </a:r>
            <a:r>
              <a:rPr lang="es-es" sz="1200" b="0" i="0" u="none" baseline="0" dirty="0"/>
              <a:t>es un cargador activo e inteligente, que se comunica durante el proceso de carga con el BMS (sistema de gestión de batería) de la batería y, por lo tanto, puede reaccionar en caso de sobrecalentamiento u otras anomalías durante el </a:t>
            </a:r>
            <a:br>
              <a:rPr lang="es-es" sz="1200" dirty="0"/>
            </a:br>
            <a:r>
              <a:rPr lang="es-es" sz="1200" b="0" i="0" u="none" baseline="0" dirty="0"/>
              <a:t>proceso de carga, ya sea aumentando la potencia de refrigeración o desconectando el proceso de carga si es necesario.</a:t>
            </a:r>
            <a:endParaRPr lang="es-es" sz="1200" dirty="0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E1AFFA4E-3B6C-89F4-318D-85DF25E5A30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5</a:t>
            </a:fld>
            <a:endParaRPr lang="es-es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D202163-C927-BEE4-E185-D237AAE771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6374012" cy="376456"/>
          </a:xfrm>
        </p:spPr>
        <p:txBody>
          <a:bodyPr/>
          <a:lstStyle/>
          <a:p>
            <a:pPr algn="l" rtl="0"/>
            <a:r>
              <a:rPr lang="es-es" b="0" i="0" u="none" baseline="0"/>
              <a:t>Generación de baterías de alto rendimiento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C00B916D-E7FA-4F31-C626-AAF27F493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/>
              <a:t>1 | Contexto NBP - NBC215 </a:t>
            </a:r>
            <a:endParaRPr lang="es-e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247CE03-5B42-95AD-75DC-81AC9069FCF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6540" y="1271599"/>
            <a:ext cx="2926222" cy="23564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E25640B-578A-6FA7-1BA5-0433AF96087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7078" y="1271599"/>
            <a:ext cx="2926222" cy="235644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06A3510-2D25-1F1B-9CA8-89FA9AC4E0F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0729" y="2999347"/>
            <a:ext cx="3387555" cy="2349333"/>
          </a:xfrm>
          <a:prstGeom prst="rect">
            <a:avLst/>
          </a:prstGeom>
        </p:spPr>
      </p:pic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82A41CB2-AA08-17CE-5EEF-5699072F09F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</p:spTree>
    <p:extLst>
      <p:ext uri="{BB962C8B-B14F-4D97-AF65-F5344CB8AC3E}">
        <p14:creationId xmlns:p14="http://schemas.microsoft.com/office/powerpoint/2010/main" val="1001936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59E80AA6-C8BD-FEF5-2A31-122F342890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5898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E80AA6-C8BD-FEF5-2A31-122F34289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0C3BC2-CD46-F5AC-9A2F-615629BD81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INFORMACIÓN CONFIDENCIAL DE LA EMPRES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7B1C8C-E160-42EB-07B2-8B9843319EA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5236-B7BA-4938-9EA6-6DEC8CA653D7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l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es" sz="1000" b="0" i="0" u="none" strike="noStrike" kern="1200" cap="none" spc="0" normalizeH="0" baseline="0" noProof="0">
              <a:ln>
                <a:noFill/>
              </a:ln>
              <a:solidFill>
                <a:srgbClr val="B3BBC5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34BA2B4-1083-357E-3701-8B92912B9A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Estrategia de color profesional de última generación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DE3105-E8FC-9506-059D-CB83AEEEF8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/>
              <a:t>1 | Antecedentes - Marca y diseño</a:t>
            </a:r>
            <a:endParaRPr lang="es-es" dirty="0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D99E1E8-297C-830D-92A3-5E97A12A7FC6}"/>
              </a:ext>
            </a:extLst>
          </p:cNvPr>
          <p:cNvGrpSpPr/>
          <p:nvPr/>
        </p:nvGrpSpPr>
        <p:grpSpPr>
          <a:xfrm>
            <a:off x="475521" y="1819156"/>
            <a:ext cx="732916" cy="968740"/>
            <a:chOff x="571715" y="2789281"/>
            <a:chExt cx="732916" cy="968740"/>
          </a:xfrm>
        </p:grpSpPr>
        <p:sp>
          <p:nvSpPr>
            <p:cNvPr id="4" name="Rounded Rectangle 57">
              <a:extLst>
                <a:ext uri="{FF2B5EF4-FFF2-40B4-BE49-F238E27FC236}">
                  <a16:creationId xmlns:a16="http://schemas.microsoft.com/office/drawing/2014/main" id="{44FD7CB0-81E2-375A-D999-484CAE995625}"/>
                </a:ext>
              </a:extLst>
            </p:cNvPr>
            <p:cNvSpPr/>
            <p:nvPr/>
          </p:nvSpPr>
          <p:spPr>
            <a:xfrm>
              <a:off x="571715" y="2789281"/>
              <a:ext cx="341595" cy="968740"/>
            </a:xfrm>
            <a:prstGeom prst="round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7" name="Rounded Rectangle 58">
              <a:extLst>
                <a:ext uri="{FF2B5EF4-FFF2-40B4-BE49-F238E27FC236}">
                  <a16:creationId xmlns:a16="http://schemas.microsoft.com/office/drawing/2014/main" id="{BFCC6A48-F183-994D-F4BA-B34754A157CA}"/>
                </a:ext>
              </a:extLst>
            </p:cNvPr>
            <p:cNvSpPr/>
            <p:nvPr/>
          </p:nvSpPr>
          <p:spPr>
            <a:xfrm>
              <a:off x="963036" y="2789281"/>
              <a:ext cx="341595" cy="141426"/>
            </a:xfrm>
            <a:prstGeom prst="round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9" name="Rounded Rectangle 59">
              <a:extLst>
                <a:ext uri="{FF2B5EF4-FFF2-40B4-BE49-F238E27FC236}">
                  <a16:creationId xmlns:a16="http://schemas.microsoft.com/office/drawing/2014/main" id="{9D94675B-5B4E-C715-4AED-CD86CC6BBD3E}"/>
                </a:ext>
              </a:extLst>
            </p:cNvPr>
            <p:cNvSpPr/>
            <p:nvPr/>
          </p:nvSpPr>
          <p:spPr>
            <a:xfrm>
              <a:off x="965963" y="2982337"/>
              <a:ext cx="225159" cy="141426"/>
            </a:xfrm>
            <a:prstGeom prst="round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0" name="Rounded Rectangle 60">
              <a:extLst>
                <a:ext uri="{FF2B5EF4-FFF2-40B4-BE49-F238E27FC236}">
                  <a16:creationId xmlns:a16="http://schemas.microsoft.com/office/drawing/2014/main" id="{2C052A14-A879-40FC-9191-0B2199923227}"/>
                </a:ext>
              </a:extLst>
            </p:cNvPr>
            <p:cNvSpPr/>
            <p:nvPr/>
          </p:nvSpPr>
          <p:spPr>
            <a:xfrm>
              <a:off x="971422" y="3180968"/>
              <a:ext cx="87111" cy="141426"/>
            </a:xfrm>
            <a:prstGeom prst="round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E9D3D094-3C5B-3347-84BC-723E089609AB}"/>
              </a:ext>
            </a:extLst>
          </p:cNvPr>
          <p:cNvSpPr txBox="1"/>
          <p:nvPr/>
        </p:nvSpPr>
        <p:spPr>
          <a:xfrm>
            <a:off x="475521" y="1419908"/>
            <a:ext cx="1615217" cy="297004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Colores y proporciones del producto</a:t>
            </a:r>
          </a:p>
        </p:txBody>
      </p:sp>
      <p:pic>
        <p:nvPicPr>
          <p:cNvPr id="14" name="Picture 13" descr="A picture containing control panel&#10;&#10;Description automatically generated">
            <a:extLst>
              <a:ext uri="{FF2B5EF4-FFF2-40B4-BE49-F238E27FC236}">
                <a16:creationId xmlns:a16="http://schemas.microsoft.com/office/drawing/2014/main" id="{6D199632-F9AC-50BF-0DE7-D492B166222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221" y="3105887"/>
            <a:ext cx="1133542" cy="110771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71742E2-B1CB-9FFC-5309-887EB028D66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47387" y="2890140"/>
            <a:ext cx="1447027" cy="1261114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4899A510-FB50-7C21-B26E-9F57FC19F4FB}"/>
              </a:ext>
            </a:extLst>
          </p:cNvPr>
          <p:cNvSpPr>
            <a:spLocks noChangeAspect="1"/>
          </p:cNvSpPr>
          <p:nvPr/>
        </p:nvSpPr>
        <p:spPr>
          <a:xfrm>
            <a:off x="8742495" y="1412874"/>
            <a:ext cx="2971800" cy="1143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Color principal de la carcasa del producto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Este es el color principal del producto que se utilizará en todas las </a:t>
            </a:r>
            <a:br>
              <a:rPr kumimoji="0" lang="es-es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</a:br>
            <a:r>
              <a:rPr kumimoji="0" lang="es-es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piezas principales.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65497DF-E1C1-495E-52E8-2685E36F2B4D}"/>
              </a:ext>
            </a:extLst>
          </p:cNvPr>
          <p:cNvSpPr/>
          <p:nvPr/>
        </p:nvSpPr>
        <p:spPr>
          <a:xfrm>
            <a:off x="8742495" y="5130800"/>
            <a:ext cx="2971800" cy="1143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Color de seguridad/servicio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Todas las piezas de este color indican elementos de seguridad </a:t>
            </a:r>
            <a:br>
              <a:rPr kumimoji="0" lang="es-es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</a:br>
            <a:r>
              <a:rPr kumimoji="0" lang="es-es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(por ejemplo, cables de carga, botones de marcha atrás) y puntos de servicio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0815BB5-479A-E497-82B2-7655D21A69EB}"/>
              </a:ext>
            </a:extLst>
          </p:cNvPr>
          <p:cNvSpPr>
            <a:spLocks noChangeAspect="1"/>
          </p:cNvSpPr>
          <p:nvPr/>
        </p:nvSpPr>
        <p:spPr>
          <a:xfrm>
            <a:off x="8742495" y="3891492"/>
            <a:ext cx="2971800" cy="1143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Color operativo del punto de contacto del usuario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Interruptores, botones, tapas, asas. Cualquier pieza de este color está destinada a la interacción durante el funcionamiento eficaz de la máquina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1AA68B4-F48E-DD23-3EEA-7E8FCD39A826}"/>
              </a:ext>
            </a:extLst>
          </p:cNvPr>
          <p:cNvSpPr>
            <a:spLocks noChangeAspect="1"/>
          </p:cNvSpPr>
          <p:nvPr/>
        </p:nvSpPr>
        <p:spPr>
          <a:xfrm>
            <a:off x="8742495" y="2652183"/>
            <a:ext cx="2971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Ergonómico/color característico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Un color para destacar las zonas ergonómicas (por ejemplo, el asa) y las características y propuestas de valor específicas del producto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8C91EBB-5F87-292C-4C5D-1787F90497DC}"/>
              </a:ext>
            </a:extLst>
          </p:cNvPr>
          <p:cNvSpPr txBox="1"/>
          <p:nvPr/>
        </p:nvSpPr>
        <p:spPr>
          <a:xfrm>
            <a:off x="3684739" y="5305484"/>
            <a:ext cx="3115118" cy="740203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algn="ctr" rtl="0">
              <a:lnSpc>
                <a:spcPct val="120000"/>
              </a:lnSpc>
              <a:spcBef>
                <a:spcPts val="400"/>
              </a:spcBef>
            </a:pPr>
            <a:r>
              <a:rPr kumimoji="0" lang="es-es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La nueva paleta CMF profesional ha sido ampliamente investigada, desarrollada y probada, y es  compatible con un uso intuitivo.</a:t>
            </a:r>
            <a:endParaRPr lang="es-es" sz="12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8D925CB-137C-AC9A-F079-AB8EFE5BC96F}"/>
              </a:ext>
            </a:extLst>
          </p:cNvPr>
          <p:cNvSpPr txBox="1"/>
          <p:nvPr/>
        </p:nvSpPr>
        <p:spPr>
          <a:xfrm>
            <a:off x="3716637" y="4976911"/>
            <a:ext cx="3051322" cy="307777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marL="0" indent="0" algn="ctr" rtl="0">
              <a:buNone/>
            </a:pPr>
            <a:r>
              <a:rPr lang="es-es" sz="1400" b="0" i="0" u="none" baseline="0">
                <a:latin typeface="+mj-lt"/>
                <a:ea typeface="+mj-lt"/>
                <a:cs typeface="+mj-lt"/>
              </a:rPr>
              <a:t>Nuevo profesional (PBLS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61A17E2-035D-FC8F-E5C4-58AC9723970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1904" y="1182414"/>
            <a:ext cx="3809524" cy="380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475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F69073-365F-6151-25C9-46A6F0279D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blue and black gradient&#10;&#10;Description automatically generated">
            <a:extLst>
              <a:ext uri="{FF2B5EF4-FFF2-40B4-BE49-F238E27FC236}">
                <a16:creationId xmlns:a16="http://schemas.microsoft.com/office/drawing/2014/main" id="{EEAB1286-DD6C-EF0A-ECB0-86EFE2C844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872756" y="0"/>
            <a:ext cx="3319243" cy="6273800"/>
          </a:xfrm>
          <a:prstGeom prst="rect">
            <a:avLst/>
          </a:prstGeom>
        </p:spPr>
      </p:pic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3DA234A4-B5C1-4024-53CD-6BABED64653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7</a:t>
            </a:fld>
            <a:endParaRPr lang="es-e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A6473F8-61B5-8FA6-224A-014658347050}"/>
              </a:ext>
            </a:extLst>
          </p:cNvPr>
          <p:cNvCxnSpPr>
            <a:cxnSpLocks/>
          </p:cNvCxnSpPr>
          <p:nvPr/>
        </p:nvCxnSpPr>
        <p:spPr>
          <a:xfrm>
            <a:off x="5026572" y="1828800"/>
            <a:ext cx="243165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ECE042D-DE70-8750-E2CC-340FF8EBD39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537B966C-B868-022C-03FB-5A814028300C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es-es" b="1" i="0" u="none" baseline="0"/>
              <a:t>Plataforma de mensajes de campaña</a:t>
            </a:r>
            <a:endParaRPr lang="es-e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1C0F77-6977-0FFA-4312-07B79E8B9272}"/>
              </a:ext>
            </a:extLst>
          </p:cNvPr>
          <p:cNvSpPr txBox="1"/>
          <p:nvPr/>
        </p:nvSpPr>
        <p:spPr>
          <a:xfrm>
            <a:off x="9112102" y="2657196"/>
            <a:ext cx="2598636" cy="2159437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marL="0" marR="0" algn="l" rtl="0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</a:pPr>
            <a:r>
              <a:rPr lang="es-es" sz="1100" b="0" i="0" u="none" baseline="0">
                <a:solidFill>
                  <a:schemeClr val="bg1"/>
                </a:solidFill>
                <a:effectLst/>
                <a:ea typeface="Roboto" panose="02000000000000000000" pitchFamily="2" charset="0"/>
                <a:cs typeface="Roboto" panose="02000000000000000000" pitchFamily="2" charset="0"/>
              </a:rPr>
              <a:t>Tu éxito está en el centro de nuestras  soluciones</a:t>
            </a:r>
            <a:endParaRPr lang="es-es" sz="1100" dirty="0">
              <a:solidFill>
                <a:schemeClr val="bg1"/>
              </a:solidFill>
              <a:effectLst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algn="l" rtl="0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</a:pPr>
            <a:r>
              <a:rPr lang="es-es" sz="1100" b="0" i="0" u="none" baseline="0">
                <a:solidFill>
                  <a:schemeClr val="bg1"/>
                </a:solidFill>
                <a:effectLst/>
                <a:ea typeface="Roboto" panose="02000000000000000000" pitchFamily="2" charset="0"/>
                <a:cs typeface="Roboto" panose="02000000000000000000" pitchFamily="2" charset="0"/>
              </a:rPr>
              <a:t>Nuestra nueva gama de aspiradores AERO con batería está diseñada para una limpieza rápida y eficiente, ideal para trabajos ágiles, tanto en condiciones secas como húmedas. Diseñados para ser duraderos y fáciles de usar, ayudan a maximizar la productividad y a liberar tiempo para lo que realmente importa, permitiendo que tu equipo prospere y tu empresa tenga éxito.</a:t>
            </a:r>
            <a:endParaRPr lang="es-es" sz="1100" dirty="0">
              <a:solidFill>
                <a:schemeClr val="bg1"/>
              </a:solidFill>
              <a:effectLst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0246DEC-97B0-5D9E-5631-6CF1639D66D9}"/>
              </a:ext>
            </a:extLst>
          </p:cNvPr>
          <p:cNvSpPr txBox="1"/>
          <p:nvPr/>
        </p:nvSpPr>
        <p:spPr>
          <a:xfrm>
            <a:off x="9104104" y="1654509"/>
            <a:ext cx="2606634" cy="775015"/>
          </a:xfrm>
          <a:prstGeom prst="rect">
            <a:avLst/>
          </a:prstGeom>
          <a:noFill/>
        </p:spPr>
        <p:txBody>
          <a:bodyPr wrap="square" lIns="0" tIns="0" rIns="0" bIns="36000">
            <a:spAutoFit/>
          </a:bodyPr>
          <a:lstStyle/>
          <a:p>
            <a:pPr algn="l" rtl="0"/>
            <a:r>
              <a:rPr lang="es-es" sz="2400" b="0" i="0" u="none" baseline="0">
                <a:solidFill>
                  <a:schemeClr val="bg1"/>
                </a:solidFill>
                <a:latin typeface="+mj-lt"/>
                <a:ea typeface="Roboto Medium" panose="02000000000000000000" pitchFamily="2" charset="0"/>
              </a:rPr>
              <a:t>Una nueva fórmula </a:t>
            </a:r>
            <a:br>
              <a:rPr lang="es-es" sz="2400">
                <a:solidFill>
                  <a:schemeClr val="bg1"/>
                </a:solidFill>
                <a:latin typeface="+mj-lt"/>
                <a:ea typeface="Roboto Medium" panose="02000000000000000000" pitchFamily="2" charset="0"/>
              </a:rPr>
            </a:br>
            <a:r>
              <a:rPr lang="es-es" sz="2400" b="0" i="0" u="none" baseline="0">
                <a:solidFill>
                  <a:schemeClr val="bg1"/>
                </a:solidFill>
                <a:latin typeface="+mj-lt"/>
                <a:ea typeface="Roboto Medium" panose="02000000000000000000" pitchFamily="2" charset="0"/>
              </a:rPr>
              <a:t>para la libertad 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4DE2E548-A377-3A14-B6FF-62E66B8B319F}"/>
              </a:ext>
            </a:extLst>
          </p:cNvPr>
          <p:cNvSpPr txBox="1"/>
          <p:nvPr/>
        </p:nvSpPr>
        <p:spPr>
          <a:xfrm>
            <a:off x="9112102" y="1289763"/>
            <a:ext cx="1733551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9144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es-es" sz="1000" b="0" i="0" u="none" baseline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+mn-lt"/>
              </a:rPr>
              <a:t>Propuesta de valor:</a:t>
            </a:r>
            <a:endParaRPr lang="es-es" sz="1000">
              <a:solidFill>
                <a:schemeClr val="bg1"/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Light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1E74EDBD-DED5-11D9-8BED-16159B5B4C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5757092"/>
              </p:ext>
            </p:extLst>
          </p:nvPr>
        </p:nvGraphicFramePr>
        <p:xfrm>
          <a:off x="479425" y="1412874"/>
          <a:ext cx="8234007" cy="51944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400">
                  <a:extLst>
                    <a:ext uri="{9D8B030D-6E8A-4147-A177-3AD203B41FA5}">
                      <a16:colId xmlns:a16="http://schemas.microsoft.com/office/drawing/2014/main" val="3549348172"/>
                    </a:ext>
                  </a:extLst>
                </a:gridCol>
                <a:gridCol w="2439869">
                  <a:extLst>
                    <a:ext uri="{9D8B030D-6E8A-4147-A177-3AD203B41FA5}">
                      <a16:colId xmlns:a16="http://schemas.microsoft.com/office/drawing/2014/main" val="1818722264"/>
                    </a:ext>
                  </a:extLst>
                </a:gridCol>
                <a:gridCol w="2439869">
                  <a:extLst>
                    <a:ext uri="{9D8B030D-6E8A-4147-A177-3AD203B41FA5}">
                      <a16:colId xmlns:a16="http://schemas.microsoft.com/office/drawing/2014/main" val="2230632701"/>
                    </a:ext>
                  </a:extLst>
                </a:gridCol>
                <a:gridCol w="2439869">
                  <a:extLst>
                    <a:ext uri="{9D8B030D-6E8A-4147-A177-3AD203B41FA5}">
                      <a16:colId xmlns:a16="http://schemas.microsoft.com/office/drawing/2014/main" val="2652362630"/>
                    </a:ext>
                  </a:extLst>
                </a:gridCol>
              </a:tblGrid>
              <a:tr h="373518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25"/>
                        </a:spcBef>
                        <a:spcAft>
                          <a:spcPts val="125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baseline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lt"/>
                        </a:rPr>
                        <a:t>Temas de mensajería</a:t>
                      </a:r>
                      <a:r>
                        <a:rPr lang="es-es" sz="800" b="0" i="0" u="none" baseline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Light"/>
                        </a:rPr>
                        <a:t>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25"/>
                        </a:spcBef>
                        <a:spcAft>
                          <a:spcPts val="125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u="none" baseline="0">
                          <a:solidFill>
                            <a:schemeClr val="accent3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Un rendimiento resistente </a:t>
                      </a:r>
                      <a:endParaRPr lang="es-es" sz="900" b="0">
                        <a:solidFill>
                          <a:schemeClr val="accent3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Roboto Medium" panose="02000000000000000000" pitchFamily="2" charset="0"/>
                      </a:endParaRPr>
                    </a:p>
                  </a:txBody>
                  <a:tcPr marL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25"/>
                        </a:spcBef>
                        <a:spcAft>
                          <a:spcPts val="125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u="none" baseline="0">
                          <a:solidFill>
                            <a:schemeClr val="accent3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Innovación impulsada por las </a:t>
                      </a:r>
                      <a:br>
                        <a:rPr lang="es-es" sz="900" b="0">
                          <a:solidFill>
                            <a:schemeClr val="accent3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</a:br>
                      <a:r>
                        <a:rPr lang="es-es" sz="900" b="0" i="0" u="none" baseline="0">
                          <a:solidFill>
                            <a:schemeClr val="accent3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necesidades de los usuarios </a:t>
                      </a:r>
                      <a:endParaRPr lang="es-es" sz="900" b="0">
                        <a:solidFill>
                          <a:schemeClr val="accent3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Roboto Medium" panose="02000000000000000000" pitchFamily="2" charset="0"/>
                      </a:endParaRPr>
                    </a:p>
                  </a:txBody>
                  <a:tcPr marL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25"/>
                        </a:spcBef>
                        <a:spcAft>
                          <a:spcPts val="125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u="none" baseline="0">
                          <a:solidFill>
                            <a:schemeClr val="accent3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Durabilidad </a:t>
                      </a:r>
                      <a:br>
                        <a:rPr lang="es-es" sz="900" b="0">
                          <a:solidFill>
                            <a:schemeClr val="accent3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</a:br>
                      <a:r>
                        <a:rPr lang="es-es" sz="900" b="0" i="0" u="none" baseline="0">
                          <a:solidFill>
                            <a:schemeClr val="accent3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y resistencia inigualables </a:t>
                      </a:r>
                    </a:p>
                  </a:txBody>
                  <a:tcPr marL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5358413"/>
                  </a:ext>
                </a:extLst>
              </a:tr>
              <a:tr h="93379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25"/>
                        </a:spcBef>
                        <a:spcAft>
                          <a:spcPts val="125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baseline="0"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lt"/>
                        </a:rPr>
                        <a:t>Declaraciones de valor:</a:t>
                      </a:r>
                      <a:endParaRPr lang="es-es" sz="800">
                        <a:latin typeface="Roboto Medium" panose="02000000000000000000" pitchFamily="2" charset="0"/>
                        <a:ea typeface="Roboto Medium" panose="02000000000000000000" pitchFamily="2" charset="0"/>
                        <a:cs typeface="Roboto Light"/>
                      </a:endParaRPr>
                    </a:p>
                  </a:txBody>
                  <a:tcPr marT="9144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25"/>
                        </a:spcBef>
                        <a:spcAft>
                          <a:spcPts val="125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700" b="1" i="0" u="none" baseline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s-es" sz="700" b="0" i="0" u="none" baseline="0">
                          <a:solidFill>
                            <a:schemeClr val="tx1"/>
                          </a:solidFill>
                        </a:rPr>
                        <a:t>Sin enchufes, basta con pulsar un botón. Diseñada para un funcionamiento sin problemas con batería, esta máquina ofrece un rendimiento fluido e ininterrumpido. Su potente aspiración elimina rápidamente el polvo y los residuos húmedos o secos. Además, con un mantenimiento sencillo y Bluetooth para asistencia y solución de problemas remotas, las empresas mantienen la agilidad, maximizando la productividad y minimizando el tiempo de inactividad.</a:t>
                      </a:r>
                      <a:endParaRPr lang="es-es" sz="700" kern="100">
                        <a:solidFill>
                          <a:schemeClr val="tx1"/>
                        </a:solidFill>
                        <a:effectLst/>
                        <a:ea typeface="Roboto Medium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0" marT="9144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25"/>
                        </a:spcBef>
                        <a:spcAft>
                          <a:spcPts val="125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700" b="0" i="0" u="none" baseline="0">
                          <a:solidFill>
                            <a:schemeClr val="tx1"/>
                          </a:solidFill>
                        </a:rPr>
                        <a:t>Siempre inspirada en las necesidades de nuestros clientes, esta máquina se ha diseñado con características que permiten a los operadores rendir al máximo. Su diseño ligero y fácil de manejar optimiza la productividad, mientras que el flujo de aire y la filtración, los mejores de su clase, reducen los riesgos para la seguridad. Además, la solución sin cable y totalmente alimentada por batería mejora la seguridad al eliminar los riesgos de tropiezo.</a:t>
                      </a:r>
                      <a:endParaRPr lang="es-es" sz="700" kern="100">
                        <a:solidFill>
                          <a:schemeClr val="tx1"/>
                        </a:solidFill>
                        <a:effectLst/>
                        <a:ea typeface="Roboto Medium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0" marT="9144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25"/>
                        </a:spcBef>
                        <a:spcAft>
                          <a:spcPts val="125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700" b="0" i="0" u="none" baseline="0">
                          <a:solidFill>
                            <a:schemeClr val="tx1"/>
                          </a:solidFill>
                        </a:rPr>
                        <a:t>La calidad, la durabilidad y la autonomía son esenciales para destacar en cada tarea durante una jornada laboral acelerada y con horarios ajustados. Con su gran resistencia, la batería líder en su clase y una excelente autonomía, ningún trabajo hará que esta máquina se detenga. Incluso en las condiciones más duras, demostrará continuamente su potencia y resistencia. </a:t>
                      </a:r>
                      <a:endParaRPr lang="es-es" sz="700">
                        <a:solidFill>
                          <a:schemeClr val="tx1"/>
                        </a:solidFill>
                      </a:endParaRPr>
                    </a:p>
                  </a:txBody>
                  <a:tcPr marL="0" marT="9144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2883611"/>
                  </a:ext>
                </a:extLst>
              </a:tr>
              <a:tr h="3553611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25"/>
                        </a:spcBef>
                        <a:spcAft>
                          <a:spcPts val="125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baseline="0"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lt"/>
                        </a:rPr>
                        <a:t>Puntos de prueba:</a:t>
                      </a:r>
                      <a:endParaRPr lang="es-es" sz="800">
                        <a:latin typeface="Roboto Medium" panose="02000000000000000000" pitchFamily="2" charset="0"/>
                        <a:ea typeface="Roboto Medium" panose="02000000000000000000" pitchFamily="2" charset="0"/>
                        <a:cs typeface="Roboto Light"/>
                      </a:endParaRPr>
                    </a:p>
                  </a:txBody>
                  <a:tcPr marT="9144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Alto rendimiento inalámbrico</a:t>
                      </a:r>
                      <a:endParaRPr lang="es-es" altLang="da-DK" sz="700" b="0" dirty="0">
                        <a:solidFill>
                          <a:schemeClr val="tx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Aspiración accionada por batería con una potencia de succión superior que garantiza la máxima eficiencia para cualquier tarea de limpieza, en húmedo y en seco</a:t>
                      </a:r>
                      <a:endParaRPr lang="es-es" altLang="da-DK" sz="700" dirty="0">
                        <a:solidFill>
                          <a:schemeClr val="tx1"/>
                        </a:solidFill>
                      </a:endParaRPr>
                    </a:p>
                    <a:p>
                      <a:pPr marL="0" algn="l" defTabSz="1023967" rtl="0" eaLnBrk="1" latinLnBrk="0" hangingPunct="1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Potencia de succión superior 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Garantiza la eliminación rápida y eficaz del polvo y los residuos del aire y las superficies para evitar su acumulación</a:t>
                      </a:r>
                    </a:p>
                    <a:p>
                      <a:pPr marL="0" algn="l" defTabSz="1023967" rtl="0" eaLnBrk="1" latinLnBrk="0" hangingPunct="1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Pulsar un botón y limpiar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Un mecanismo de limpieza del filtro semiautomático garantiza la máxima productividad, mantiene un rendimiento óptimo y reduce el tiempo de inactividad</a:t>
                      </a:r>
                    </a:p>
                    <a:p>
                      <a:pPr marL="0" algn="l" defTabSz="1023967" rtl="0" eaLnBrk="1" latinLnBrk="0" hangingPunct="1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ervicio Bluetooth (solo Clase M)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Proporciona diagnóstico remoto y soporte operativo, ofreciendo solución de problemas en tiempo real por el servicio de Nilfisk para reducir la necesidad de llamadas de servicio in situ y mantener el máximo rendimiento. </a:t>
                      </a:r>
                    </a:p>
                    <a:p>
                      <a:pPr marL="0" algn="l" defTabSz="1023967" rtl="0" eaLnBrk="1" latinLnBrk="0" hangingPunct="1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Elemento filtrante de PET 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Fácil mantenimiento con un filtro lavable y de larga duración que garantiza una filtración y un rendimiento óptimos a la vez que reduce la frecuencia de sustitución </a:t>
                      </a:r>
                    </a:p>
                    <a:p>
                      <a:pPr marL="0" algn="l" defTabSz="1023967" rtl="0" eaLnBrk="1" latinLnBrk="0" hangingPunct="1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Nueva batería NBP de alto rendimiento desarrollada por Nilfisk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El rendimiento duradero de la batería permite una eficiencia ininterrumpida y reduce el impacto medioambiental</a:t>
                      </a:r>
                    </a:p>
                    <a:p>
                      <a:pPr marL="0" algn="l" defTabSz="1023967" rtl="0" eaLnBrk="1" latinLnBrk="0" hangingPunct="1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Turbina de alta eficiencia para una potencia de succión óptima 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El aerogenerador ha demostrado ser muy eficiente y respetuoso con el medio ambiente. Su diseño reduce el consumo de energía y los costes operativos</a:t>
                      </a:r>
                    </a:p>
                    <a:p>
                      <a:pPr algn="l" rtl="0">
                        <a:lnSpc>
                          <a:spcPct val="100000"/>
                        </a:lnSpc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endParaRPr lang="es-es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T="9144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latinLnBrk="0" hangingPunct="1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Ligero y duradero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Con un peso inferior a 10 kg, esta máquina es fácil de manejar para cualquier usuario y, al mismo tiempo, lo suficientemente resistente como para rendir en entornos exigentes, ofreciendo una experiencia de limpieza cómoda y sin esfuerzo para usuarios de todos los niveles.</a:t>
                      </a:r>
                    </a:p>
                    <a:p>
                      <a:pPr marL="0" algn="l" defTabSz="1023967" rtl="0" eaLnBrk="1" latinLnBrk="0" hangingPunct="1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Bajo ruido de funcionamiento para limpiar durante el día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A pesar de su turbina altamente eficiente, el ruido de funcionamiento es bajo, lo que mejora la comodidad del usuario y permite la limpieza en entornos donde el ruido puede ser un inconveniente</a:t>
                      </a:r>
                    </a:p>
                    <a:p>
                      <a:pPr marL="0" algn="l" defTabSz="1023967" rtl="0" eaLnBrk="1" latinLnBrk="0" hangingPunct="1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Control remoto </a:t>
                      </a:r>
                      <a:r>
                        <a:rPr lang="es-es" sz="700" b="0" i="0" u="none" kern="1200" baseline="0" dirty="0" err="1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AutoSense</a:t>
                      </a: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(solo para clase M)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Las opciones de control remoto e intuitivo mejoran la experiencia del usuario, proporcionando facilidad de uso y supervisión en tiempo real para una mayor seguridad y eficiencia</a:t>
                      </a:r>
                    </a:p>
                    <a:p>
                      <a:pPr marL="0" algn="l" defTabSz="1023967" rtl="0" eaLnBrk="1" latinLnBrk="0" hangingPunct="1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Certificado para el más alto nivel de seguridad</a:t>
                      </a:r>
                      <a:endParaRPr lang="es-es" altLang="da-DK" sz="700" b="0" kern="1200" dirty="0">
                        <a:solidFill>
                          <a:schemeClr val="tx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Clase M aprobada para cumplir con los más altos estándares de seguridad para polvo peligroso, minimizando la exposición a polvo nocivo, alérgenos y residuos, garantizando un aire más limpio y condiciones de trabajo más seguras</a:t>
                      </a:r>
                    </a:p>
                    <a:p>
                      <a:pPr marL="0" algn="l" defTabSz="1023967" rtl="0" eaLnBrk="1" latinLnBrk="0" hangingPunct="1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El mejor flujo de aire del mercado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Un flujo de aire de 3600 l/min garantiza que el sistema de filtración mantenga una aspiración constante a la vez que evita la propagación del polvo a otras áreas. Esto ayuda a mantener un entorno más seguro y limpio, reduciendo los riesgos para la salud y mejorando la eficiencia laboral</a:t>
                      </a:r>
                    </a:p>
                    <a:p>
                      <a:pPr marL="0" algn="l" defTabSz="1023967" rtl="0" eaLnBrk="1" latinLnBrk="0" hangingPunct="1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in cables, funciona solo con batería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El diseño sin cables reduce el riesgo de tropiezos que provocan accidentes, lesiones y tiempos de inactividad, lo que repercute en la productividad y la seguridad</a:t>
                      </a:r>
                    </a:p>
                  </a:txBody>
                  <a:tcPr marL="0" marT="9144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latinLnBrk="0" hangingPunct="1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500 ciclos de carga, los mejores del mercado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La batería NBP, potente, duradera y de la mejor calidad, permite largas horas de trabajo, menos interrupciones y una vida útil prolongada. Además, garantiza un rendimiento constante, minimizando el tiempo de inactividad con un tiempo de recarga mínimo</a:t>
                      </a:r>
                    </a:p>
                    <a:p>
                      <a:pPr marL="0" algn="l" defTabSz="1023967" rtl="0" eaLnBrk="1" latinLnBrk="0" hangingPunct="1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La batería con mejor autonomía de su clase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Con una autonomía superior de 25 minutos con 6 Ah, esta máquina permite un rendimiento optimizado en entornos exigentes, una mayor productividad y horas de funcionamiento prolongadas en el modelo L con modo ECO. 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Una turbina superior 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Diseñada para soportar un uso frecuente, la turbina garantiza una larga vida útil, un mantenimiento mínimo y fiabilidad a largo plazo gracias a su excepcional durabilidad y resistencia en entornos exigentes</a:t>
                      </a:r>
                    </a:p>
                    <a:p>
                      <a:pPr marL="0" algn="l" defTabSz="1023967" rtl="0" eaLnBrk="1" latinLnBrk="0" hangingPunct="1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abricado para durar con un resistente chasis de calidad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Su diseño duradero resiste el uso intensivo y las condiciones más duras, garantizando un rendimiento a largo plazo</a:t>
                      </a:r>
                    </a:p>
                    <a:p>
                      <a:pPr marL="0" algn="l" defTabSz="1023967" rtl="0" eaLnBrk="1" latinLnBrk="0" hangingPunct="1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kern="1200" baseline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Probado para soportar un uso intensivo</a:t>
                      </a:r>
                    </a:p>
                    <a:p>
                      <a:pPr algn="l" rtl="0">
                        <a:spcBef>
                          <a:spcPts val="125"/>
                        </a:spcBef>
                        <a:spcAft>
                          <a:spcPts val="125"/>
                        </a:spcAft>
                        <a:defRPr/>
                      </a:pP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Sometidos a repetidas pruebas de durabilidad en nuestras instalaciones de </a:t>
                      </a:r>
                      <a:r>
                        <a:rPr lang="es-es" sz="700" b="0" i="0" u="none" baseline="0" dirty="0" err="1">
                          <a:solidFill>
                            <a:schemeClr val="tx1"/>
                          </a:solidFill>
                        </a:rPr>
                        <a:t>Hadsund</a:t>
                      </a:r>
                      <a:r>
                        <a:rPr lang="es-es" sz="700" b="0" i="0" u="none" baseline="0" dirty="0">
                          <a:solidFill>
                            <a:schemeClr val="tx1"/>
                          </a:solidFill>
                        </a:rPr>
                        <a:t>, incluso los paneles laterales mostraron una notable resistencia cuando las cosas se pusieron difíciles.</a:t>
                      </a:r>
                    </a:p>
                    <a:p>
                      <a:pPr algn="l" rtl="0">
                        <a:lnSpc>
                          <a:spcPct val="100000"/>
                        </a:lnSpc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endParaRPr lang="es-es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T="9144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22565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0862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D70854-E621-F633-E2DC-BED0EF0533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C7DFE2-7611-47EC-8FE4-15441300F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s-es" b="1" i="0" u="none" baseline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4544E14-7885-D8C3-99AB-8C141366A5ED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4926CCCE-1140-DD62-D91B-FF883F997F7C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8</a:t>
            </a:fld>
            <a:endParaRPr lang="es-es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8B96572-C9AE-355D-74A4-A84BDE3175A8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>
                <a:solidFill>
                  <a:schemeClr val="bg2"/>
                </a:solidFill>
              </a:rPr>
              <a:t>Antecedentes y VP</a:t>
            </a:r>
            <a:endParaRPr lang="es-es" dirty="0">
              <a:solidFill>
                <a:schemeClr val="bg2"/>
              </a:solidFill>
            </a:endParaRP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A262B060-FA44-0CF8-44DF-EC503FCEFB62}"/>
              </a:ext>
            </a:extLst>
          </p:cNvPr>
          <p:cNvSpPr txBox="1">
            <a:spLocks/>
          </p:cNvSpPr>
          <p:nvPr/>
        </p:nvSpPr>
        <p:spPr>
          <a:xfrm>
            <a:off x="1968167" y="2222844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dirty="0"/>
              <a:t>Segmentos de client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114F6851-7B2C-803F-1ED7-65C58D1C1FD4}"/>
              </a:ext>
            </a:extLst>
          </p:cNvPr>
          <p:cNvSpPr txBox="1">
            <a:spLocks/>
          </p:cNvSpPr>
          <p:nvPr/>
        </p:nvSpPr>
        <p:spPr>
          <a:xfrm>
            <a:off x="1968167" y="3064563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>
                <a:solidFill>
                  <a:schemeClr val="bg2"/>
                </a:solidFill>
              </a:rPr>
              <a:t>Nuevo aspirador con batería</a:t>
            </a:r>
            <a:endParaRPr lang="es-es" dirty="0">
              <a:solidFill>
                <a:schemeClr val="bg2"/>
              </a:solidFill>
            </a:endParaRPr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5DC6C914-CDAA-D6C0-C030-E56D6F75C734}"/>
              </a:ext>
            </a:extLst>
          </p:cNvPr>
          <p:cNvSpPr txBox="1">
            <a:spLocks/>
          </p:cNvSpPr>
          <p:nvPr/>
        </p:nvSpPr>
        <p:spPr>
          <a:xfrm>
            <a:off x="1968167" y="3906282"/>
            <a:ext cx="401829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b="0" i="0" u="none" baseline="0">
                <a:solidFill>
                  <a:schemeClr val="bg2"/>
                </a:solidFill>
              </a:rPr>
              <a:t>Argumentos de venta principa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12A1446B-80A8-D4D1-173B-F561EBF856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4748001"/>
            <a:ext cx="4018296" cy="698238"/>
          </a:xfrm>
        </p:spPr>
        <p:txBody>
          <a:bodyPr/>
          <a:lstStyle/>
          <a:p>
            <a:pPr algn="l" rtl="0">
              <a:lnSpc>
                <a:spcPct val="120000"/>
              </a:lnSpc>
            </a:pPr>
            <a:r>
              <a:rPr lang="es-es" b="0" i="0" u="none" baseline="0" dirty="0">
                <a:solidFill>
                  <a:schemeClr val="bg2"/>
                </a:solidFill>
              </a:rPr>
              <a:t>Otro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D5F5DFEF-87D8-25A9-919C-1E8B3BBC7A4D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1</a:t>
            </a:r>
            <a:endParaRPr lang="es-es" dirty="0"/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EE2A1001-3D83-2CB1-57AF-6C445BCECF8B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2</a:t>
            </a:r>
            <a:endParaRPr lang="es-es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74B864B8-BB6E-1730-1BBF-F32CF4B7BBDB}"/>
              </a:ext>
            </a:extLst>
          </p:cNvPr>
          <p:cNvSpPr txBox="1">
            <a:spLocks/>
          </p:cNvSpPr>
          <p:nvPr/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3</a:t>
            </a:r>
            <a:endParaRPr lang="es-es" dirty="0"/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BE0A9172-F343-1F39-1580-C481A07D5A51}"/>
              </a:ext>
            </a:extLst>
          </p:cNvPr>
          <p:cNvSpPr txBox="1">
            <a:spLocks/>
          </p:cNvSpPr>
          <p:nvPr/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s-es" b="1" i="0" u="none" baseline="0"/>
              <a:t>4</a:t>
            </a:r>
            <a:endParaRPr lang="es-es" dirty="0"/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CD07644F-4100-2EC0-EB71-31EDDFB6402B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4748001"/>
            <a:ext cx="698400" cy="698238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pPr rtl="0"/>
            <a:r>
              <a:rPr lang="es-es" b="1" i="0" u="none" baseline="0"/>
              <a:t>5</a:t>
            </a:r>
          </a:p>
        </p:txBody>
      </p:sp>
      <p:pic>
        <p:nvPicPr>
          <p:cNvPr id="7" name="Picture Placeholder 12">
            <a:extLst>
              <a:ext uri="{FF2B5EF4-FFF2-40B4-BE49-F238E27FC236}">
                <a16:creationId xmlns:a16="http://schemas.microsoft.com/office/drawing/2014/main" id="{6CF00909-8956-4DBC-246B-CBE8EB6A6A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05540" y="0"/>
            <a:ext cx="5986458" cy="627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302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8593DF-FA8C-43B2-832F-853A75BE21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think-cell data - do not delete" hidden="1">
            <a:extLst>
              <a:ext uri="{FF2B5EF4-FFF2-40B4-BE49-F238E27FC236}">
                <a16:creationId xmlns:a16="http://schemas.microsoft.com/office/drawing/2014/main" id="{E89EEA18-DDFF-9B64-B359-FCE00BD89F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8" imgH="608" progId="TCLayout.ActiveDocument.1">
                  <p:embed/>
                </p:oleObj>
              </mc:Choice>
              <mc:Fallback>
                <p:oleObj name="think-cell Slide" r:id="rId4" imgW="608" imgH="608" progId="TCLayout.ActiveDocument.1">
                  <p:embed/>
                  <p:pic>
                    <p:nvPicPr>
                      <p:cNvPr id="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9EEA18-DDFF-9B64-B359-FCE00BD89F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D6D932-B4B0-FACB-D55C-72F5D44574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Principalmente construcción | Vaciado de polvo/residuos secos | Suelos blandos y duros | A menudo áreas más grandes/tiempos más largos  </a:t>
            </a:r>
            <a:endParaRPr lang="es-e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A3814ED-B83D-5ED9-6B40-8BFD314BE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s-es" b="1" i="0" u="none" baseline="0"/>
              <a:t>2 | Segmentos de clientes</a:t>
            </a:r>
            <a:endParaRPr lang="es-e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E6F55B-F1FE-679E-99CB-ED31355899C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  <a:endParaRPr lang="es-e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F40037-714E-4B3A-088F-3F37F030940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9</a:t>
            </a:fld>
            <a:endParaRPr lang="es-es"/>
          </a:p>
        </p:txBody>
      </p:sp>
      <p:sp>
        <p:nvSpPr>
          <p:cNvPr id="55" name="object 87">
            <a:extLst>
              <a:ext uri="{FF2B5EF4-FFF2-40B4-BE49-F238E27FC236}">
                <a16:creationId xmlns:a16="http://schemas.microsoft.com/office/drawing/2014/main" id="{D2EFE135-4C19-A444-1EF9-65CEBB2AD096}"/>
              </a:ext>
            </a:extLst>
          </p:cNvPr>
          <p:cNvSpPr txBox="1"/>
          <p:nvPr/>
        </p:nvSpPr>
        <p:spPr>
          <a:xfrm>
            <a:off x="479425" y="1412821"/>
            <a:ext cx="2651760" cy="69762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square" lIns="685800" tIns="91440" rIns="91440" bIns="91440" rtlCol="0" anchor="ctr" anchorCtr="0">
            <a:spAutoFit/>
          </a:bodyPr>
          <a:lstStyle/>
          <a:p>
            <a:pPr marL="201168" indent="-201168" algn="l" rtl="0"/>
            <a:r>
              <a:rPr lang="es-es" sz="1000" b="0" i="0" u="none" spc="3" baseline="0">
                <a:latin typeface="+mj-lt"/>
                <a:cs typeface="Arial"/>
              </a:rPr>
              <a:t>Doméstico y del hogar</a:t>
            </a:r>
          </a:p>
          <a:p>
            <a:pPr marL="13716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Domicilios particulares</a:t>
            </a:r>
          </a:p>
          <a:p>
            <a:pPr marL="13716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Limpieza de vehículos</a:t>
            </a:r>
          </a:p>
        </p:txBody>
      </p:sp>
      <p:sp>
        <p:nvSpPr>
          <p:cNvPr id="2" name="object 87">
            <a:extLst>
              <a:ext uri="{FF2B5EF4-FFF2-40B4-BE49-F238E27FC236}">
                <a16:creationId xmlns:a16="http://schemas.microsoft.com/office/drawing/2014/main" id="{138D456E-EE18-9810-2C0D-F3EFC32BCED9}"/>
              </a:ext>
            </a:extLst>
          </p:cNvPr>
          <p:cNvSpPr txBox="1"/>
          <p:nvPr/>
        </p:nvSpPr>
        <p:spPr>
          <a:xfrm>
            <a:off x="3339238" y="1425093"/>
            <a:ext cx="2651760" cy="69762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square" lIns="685800" tIns="91440" rIns="91440" bIns="91440" rtlCol="0" anchor="ctr" anchorCtr="0">
            <a:spAutoFit/>
          </a:bodyPr>
          <a:lstStyle/>
          <a:p>
            <a:pPr marL="201168" indent="-201168" algn="l" rtl="0">
              <a:spcBef>
                <a:spcPts val="82"/>
              </a:spcBef>
            </a:pPr>
            <a:r>
              <a:rPr lang="es-es" sz="1000" b="0" i="0" u="none" spc="3" baseline="0">
                <a:latin typeface="+mj-lt"/>
                <a:cs typeface="Arial"/>
              </a:rPr>
              <a:t>Comercio minorista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Comedores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Zonas de tiendas y pasillos</a:t>
            </a:r>
          </a:p>
        </p:txBody>
      </p:sp>
      <p:sp>
        <p:nvSpPr>
          <p:cNvPr id="63" name="object 87">
            <a:extLst>
              <a:ext uri="{FF2B5EF4-FFF2-40B4-BE49-F238E27FC236}">
                <a16:creationId xmlns:a16="http://schemas.microsoft.com/office/drawing/2014/main" id="{0D00A77B-8AB2-6CB5-6C2D-3EC9378CE7C5}"/>
              </a:ext>
            </a:extLst>
          </p:cNvPr>
          <p:cNvSpPr txBox="1"/>
          <p:nvPr/>
        </p:nvSpPr>
        <p:spPr>
          <a:xfrm>
            <a:off x="6199051" y="1425092"/>
            <a:ext cx="2651760" cy="10310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vert="horz" wrap="square" lIns="685800" tIns="91440" rIns="91440" bIns="91440" rtlCol="0" anchor="ctr" anchorCtr="0">
            <a:spAutoFit/>
          </a:bodyPr>
          <a:lstStyle/>
          <a:p>
            <a:pPr marL="201168" indent="-201168" algn="l" rtl="0">
              <a:spcBef>
                <a:spcPts val="82"/>
              </a:spcBef>
            </a:pPr>
            <a:r>
              <a:rPr lang="es-es" sz="1000" b="0" i="0" u="none" spc="3" baseline="0">
                <a:solidFill>
                  <a:schemeClr val="tx1">
                    <a:lumMod val="50000"/>
                  </a:schemeClr>
                </a:solidFill>
                <a:latin typeface="+mj-lt"/>
                <a:cs typeface="Arial"/>
              </a:rPr>
              <a:t>Almacenamiento y logística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Muelles y zonas de carga y expedición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Área de recogida y colocación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Zona de enfardado y embalaje</a:t>
            </a:r>
          </a:p>
        </p:txBody>
      </p:sp>
      <p:sp>
        <p:nvSpPr>
          <p:cNvPr id="72" name="object 87">
            <a:extLst>
              <a:ext uri="{FF2B5EF4-FFF2-40B4-BE49-F238E27FC236}">
                <a16:creationId xmlns:a16="http://schemas.microsoft.com/office/drawing/2014/main" id="{ADA345AB-FC3C-B2BC-FC1F-708C91BE3B18}"/>
              </a:ext>
            </a:extLst>
          </p:cNvPr>
          <p:cNvSpPr txBox="1"/>
          <p:nvPr/>
        </p:nvSpPr>
        <p:spPr>
          <a:xfrm>
            <a:off x="9058863" y="1421569"/>
            <a:ext cx="2651760" cy="10310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vert="horz" wrap="square" lIns="685800" tIns="91440" rIns="91440" bIns="91440" rtlCol="0" anchor="ctr" anchorCtr="0">
            <a:spAutoFit/>
          </a:bodyPr>
          <a:lstStyle/>
          <a:p>
            <a:pPr marL="201168" indent="-201168" algn="l" rtl="0">
              <a:spcBef>
                <a:spcPts val="82"/>
              </a:spcBef>
            </a:pPr>
            <a:r>
              <a:rPr lang="es-es" sz="1000" b="0" i="0" u="none" spc="3" baseline="0">
                <a:solidFill>
                  <a:schemeClr val="tx1">
                    <a:lumMod val="50000"/>
                  </a:schemeClr>
                </a:solidFill>
                <a:latin typeface="+mj-lt"/>
                <a:cs typeface="Arial"/>
              </a:rPr>
              <a:t>Alimentos y bebidas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spc="9" baseline="0">
                <a:cs typeface="Arial" panose="020B0604020202020204" pitchFamily="34" charset="0"/>
              </a:rPr>
              <a:t>Área de producción de máquinas de producción y cintas transportadoras 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spc="9" baseline="0">
                <a:cs typeface="Arial" panose="020B0604020202020204" pitchFamily="34" charset="0"/>
              </a:rPr>
              <a:t>Zona de embalaje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spc="9" baseline="0">
                <a:cs typeface="Arial" panose="020B0604020202020204" pitchFamily="34" charset="0"/>
              </a:rPr>
              <a:t>Depósitos, silos y tuberías</a:t>
            </a:r>
          </a:p>
        </p:txBody>
      </p:sp>
      <p:sp>
        <p:nvSpPr>
          <p:cNvPr id="73" name="object 87">
            <a:extLst>
              <a:ext uri="{FF2B5EF4-FFF2-40B4-BE49-F238E27FC236}">
                <a16:creationId xmlns:a16="http://schemas.microsoft.com/office/drawing/2014/main" id="{E666D100-6514-1E9E-AF8C-8CAD511EA12D}"/>
              </a:ext>
            </a:extLst>
          </p:cNvPr>
          <p:cNvSpPr txBox="1"/>
          <p:nvPr/>
        </p:nvSpPr>
        <p:spPr>
          <a:xfrm>
            <a:off x="479425" y="2237557"/>
            <a:ext cx="2651760" cy="69762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vert="horz" wrap="square" lIns="685800" tIns="91440" rIns="91440" bIns="91440" rtlCol="0" anchor="ctr" anchorCtr="0">
            <a:spAutoFit/>
          </a:bodyPr>
          <a:lstStyle/>
          <a:p>
            <a:pPr marL="201168" indent="-201168" algn="l" rtl="0"/>
            <a:r>
              <a:rPr lang="es-es" sz="1000" b="0" i="0" u="none" spc="3" baseline="0">
                <a:solidFill>
                  <a:schemeClr val="tx1">
                    <a:lumMod val="50000"/>
                  </a:schemeClr>
                </a:solidFill>
                <a:latin typeface="+mj-lt"/>
                <a:cs typeface="Arial"/>
              </a:rPr>
              <a:t>Bricolaje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Taller/garaje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Reformas</a:t>
            </a:r>
          </a:p>
        </p:txBody>
      </p:sp>
      <p:sp>
        <p:nvSpPr>
          <p:cNvPr id="74" name="object 87">
            <a:extLst>
              <a:ext uri="{FF2B5EF4-FFF2-40B4-BE49-F238E27FC236}">
                <a16:creationId xmlns:a16="http://schemas.microsoft.com/office/drawing/2014/main" id="{760F0631-B549-2AC9-60A0-68B1DF87A2FC}"/>
              </a:ext>
            </a:extLst>
          </p:cNvPr>
          <p:cNvSpPr txBox="1"/>
          <p:nvPr/>
        </p:nvSpPr>
        <p:spPr>
          <a:xfrm>
            <a:off x="479425" y="3062293"/>
            <a:ext cx="2651760" cy="8771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square" lIns="685800" tIns="91440" rIns="91440" bIns="91440" rtlCol="0" anchor="ctr" anchorCtr="0">
            <a:spAutoFit/>
          </a:bodyPr>
          <a:lstStyle/>
          <a:p>
            <a:pPr marL="201168" indent="-201168" algn="l" rtl="0"/>
            <a:r>
              <a:rPr lang="es-es" sz="1000" b="0" i="0" u="none" spc="3" baseline="0">
                <a:latin typeface="+mj-lt"/>
                <a:cs typeface="Arial"/>
              </a:rPr>
              <a:t>Oficinas y administración pública</a:t>
            </a:r>
            <a:endParaRPr lang="es-es" sz="1000" spc="3" dirty="0">
              <a:latin typeface="+mj-lt"/>
              <a:cs typeface="Arial"/>
            </a:endParaRP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Recepciones y vestíbulos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Salas de reuniones/conferencias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Escritorios y estaciones de trabajo</a:t>
            </a:r>
          </a:p>
        </p:txBody>
      </p:sp>
      <p:sp>
        <p:nvSpPr>
          <p:cNvPr id="75" name="object 87">
            <a:extLst>
              <a:ext uri="{FF2B5EF4-FFF2-40B4-BE49-F238E27FC236}">
                <a16:creationId xmlns:a16="http://schemas.microsoft.com/office/drawing/2014/main" id="{0766B1EA-6C77-8BF7-EA9C-15C90D1175BD}"/>
              </a:ext>
            </a:extLst>
          </p:cNvPr>
          <p:cNvSpPr txBox="1"/>
          <p:nvPr/>
        </p:nvSpPr>
        <p:spPr>
          <a:xfrm>
            <a:off x="475521" y="4066565"/>
            <a:ext cx="2651760" cy="87716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vert="horz" wrap="square" lIns="685800" tIns="91440" rIns="91440" bIns="91440" rtlCol="0" anchor="ctr" anchorCtr="0">
            <a:spAutoFit/>
          </a:bodyPr>
          <a:lstStyle/>
          <a:p>
            <a:pPr marL="201168" indent="-201168" algn="l" rtl="0"/>
            <a:r>
              <a:rPr lang="es-es" sz="1000" b="0" i="0" u="none" spc="3" baseline="0">
                <a:solidFill>
                  <a:schemeClr val="tx1">
                    <a:lumMod val="50000"/>
                  </a:schemeClr>
                </a:solidFill>
                <a:latin typeface="+mj-lt"/>
                <a:cs typeface="Arial"/>
              </a:rPr>
              <a:t>Defensa y fuerzas del orden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Zonas de corte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Material de campo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Limpieza de aviones</a:t>
            </a:r>
          </a:p>
        </p:txBody>
      </p:sp>
      <p:sp>
        <p:nvSpPr>
          <p:cNvPr id="76" name="object 87">
            <a:extLst>
              <a:ext uri="{FF2B5EF4-FFF2-40B4-BE49-F238E27FC236}">
                <a16:creationId xmlns:a16="http://schemas.microsoft.com/office/drawing/2014/main" id="{F65EBECC-E539-8E55-65A0-58DA63FA6230}"/>
              </a:ext>
            </a:extLst>
          </p:cNvPr>
          <p:cNvSpPr txBox="1"/>
          <p:nvPr/>
        </p:nvSpPr>
        <p:spPr>
          <a:xfrm>
            <a:off x="479425" y="5070837"/>
            <a:ext cx="2651760" cy="10567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square" lIns="685800" tIns="91440" rIns="91440" bIns="91440" rtlCol="0" anchor="ctr" anchorCtr="0">
            <a:spAutoFit/>
          </a:bodyPr>
          <a:lstStyle/>
          <a:p>
            <a:pPr marL="201168" indent="-201168" algn="l" rtl="0">
              <a:spcBef>
                <a:spcPts val="82"/>
              </a:spcBef>
            </a:pPr>
            <a:r>
              <a:rPr lang="es-es" sz="1000" b="0" i="0" u="none" spc="3" baseline="0">
                <a:latin typeface="+mj-lt"/>
                <a:cs typeface="Arial"/>
              </a:rPr>
              <a:t>Hostelería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Vestíbulo y zonas públicas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Pasillos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Salas de banquetes y conferencias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Habitaciones residenciales </a:t>
            </a:r>
          </a:p>
        </p:txBody>
      </p:sp>
      <p:sp>
        <p:nvSpPr>
          <p:cNvPr id="77" name="object 87">
            <a:extLst>
              <a:ext uri="{FF2B5EF4-FFF2-40B4-BE49-F238E27FC236}">
                <a16:creationId xmlns:a16="http://schemas.microsoft.com/office/drawing/2014/main" id="{41C62A8A-88A7-7C13-9BCB-5BE7123D3B39}"/>
              </a:ext>
            </a:extLst>
          </p:cNvPr>
          <p:cNvSpPr txBox="1"/>
          <p:nvPr/>
        </p:nvSpPr>
        <p:spPr>
          <a:xfrm>
            <a:off x="3340100" y="2237557"/>
            <a:ext cx="2651760" cy="10567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square" lIns="685800" tIns="91440" rIns="91440" bIns="91440" rtlCol="0" anchor="ctr" anchorCtr="0">
            <a:spAutoFit/>
          </a:bodyPr>
          <a:lstStyle/>
          <a:p>
            <a:pPr marL="201168" indent="-201168" algn="l" rtl="0">
              <a:spcBef>
                <a:spcPts val="82"/>
              </a:spcBef>
            </a:pPr>
            <a:r>
              <a:rPr lang="es-es" sz="1000" b="0" i="0" u="none" spc="3" baseline="0">
                <a:latin typeface="+mj-lt"/>
                <a:cs typeface="Arial"/>
              </a:rPr>
              <a:t>Atención sanitaria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Pasillos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Habitaciones residenciales 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Pacientes y salas de tratamiento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Laboratorios y salas blancas</a:t>
            </a:r>
          </a:p>
        </p:txBody>
      </p:sp>
      <p:sp>
        <p:nvSpPr>
          <p:cNvPr id="78" name="object 87">
            <a:extLst>
              <a:ext uri="{FF2B5EF4-FFF2-40B4-BE49-F238E27FC236}">
                <a16:creationId xmlns:a16="http://schemas.microsoft.com/office/drawing/2014/main" id="{24D889A7-EDE9-088E-81A2-06A00B040117}"/>
              </a:ext>
            </a:extLst>
          </p:cNvPr>
          <p:cNvSpPr txBox="1"/>
          <p:nvPr/>
        </p:nvSpPr>
        <p:spPr>
          <a:xfrm>
            <a:off x="3340100" y="3421366"/>
            <a:ext cx="2651760" cy="87716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vert="horz" wrap="square" lIns="685800" tIns="91440" rIns="91440" bIns="91440" rtlCol="0" anchor="ctr" anchorCtr="0">
            <a:spAutoFit/>
          </a:bodyPr>
          <a:lstStyle/>
          <a:p>
            <a:pPr marL="201168" indent="-201168" algn="l" rtl="0">
              <a:spcBef>
                <a:spcPts val="82"/>
              </a:spcBef>
            </a:pPr>
            <a:r>
              <a:rPr lang="es-es" sz="1000" b="0" i="0" u="none" spc="3" baseline="0">
                <a:solidFill>
                  <a:schemeClr val="tx1">
                    <a:lumMod val="50000"/>
                  </a:schemeClr>
                </a:solidFill>
                <a:latin typeface="+mj-lt"/>
                <a:cs typeface="Arial"/>
              </a:rPr>
              <a:t>Automoción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Salas de exposición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Limpieza de vehículos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Áreas de tiendas</a:t>
            </a:r>
          </a:p>
        </p:txBody>
      </p:sp>
      <p:sp>
        <p:nvSpPr>
          <p:cNvPr id="79" name="object 87">
            <a:extLst>
              <a:ext uri="{FF2B5EF4-FFF2-40B4-BE49-F238E27FC236}">
                <a16:creationId xmlns:a16="http://schemas.microsoft.com/office/drawing/2014/main" id="{7390036E-879F-A059-086F-982C179175D0}"/>
              </a:ext>
            </a:extLst>
          </p:cNvPr>
          <p:cNvSpPr txBox="1"/>
          <p:nvPr/>
        </p:nvSpPr>
        <p:spPr>
          <a:xfrm>
            <a:off x="3340100" y="4425638"/>
            <a:ext cx="2651760" cy="11849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vert="horz" wrap="square" lIns="685800" tIns="91440" rIns="91440" bIns="91440" rtlCol="0" anchor="ctr" anchorCtr="0">
            <a:spAutoFit/>
          </a:bodyPr>
          <a:lstStyle/>
          <a:p>
            <a:pPr marL="201168" indent="-201168" algn="l" rtl="0">
              <a:spcBef>
                <a:spcPts val="82"/>
              </a:spcBef>
            </a:pPr>
            <a:r>
              <a:rPr lang="es-es" sz="1000" b="0" i="0" u="none" spc="3" baseline="0">
                <a:solidFill>
                  <a:schemeClr val="tx1">
                    <a:lumMod val="50000"/>
                  </a:schemeClr>
                </a:solidFill>
                <a:latin typeface="+mj-lt"/>
                <a:cs typeface="Arial"/>
              </a:rPr>
              <a:t>Edificación y construcción</a:t>
            </a:r>
            <a:endParaRPr lang="es-es" sz="1000" spc="3" dirty="0">
              <a:solidFill>
                <a:schemeClr val="tx1">
                  <a:lumMod val="50000"/>
                </a:schemeClr>
              </a:solidFill>
              <a:latin typeface="+mj-lt"/>
              <a:cs typeface="Arial"/>
            </a:endParaRP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Herramientas y equipos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Extracción, </a:t>
            </a:r>
            <a:br>
              <a:rPr lang="es-es" sz="100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</a:br>
            <a:r>
              <a:rPr lang="es-es" sz="1000" b="0" i="0" u="none" baseline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contención y eliminación de polvo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Limpieza general/trabajos de andamiaje</a:t>
            </a:r>
          </a:p>
        </p:txBody>
      </p:sp>
      <p:sp>
        <p:nvSpPr>
          <p:cNvPr id="80" name="object 87">
            <a:extLst>
              <a:ext uri="{FF2B5EF4-FFF2-40B4-BE49-F238E27FC236}">
                <a16:creationId xmlns:a16="http://schemas.microsoft.com/office/drawing/2014/main" id="{A58813CD-8ADA-24B4-7482-4969D2022D00}"/>
              </a:ext>
            </a:extLst>
          </p:cNvPr>
          <p:cNvSpPr txBox="1"/>
          <p:nvPr/>
        </p:nvSpPr>
        <p:spPr>
          <a:xfrm>
            <a:off x="6200775" y="2579729"/>
            <a:ext cx="2651760" cy="329184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square" lIns="685800" tIns="91440" rIns="91440" bIns="91440" rtlCol="0" anchor="ctr" anchorCtr="0">
            <a:spAutoFit/>
          </a:bodyPr>
          <a:lstStyle/>
          <a:p>
            <a:pPr marL="201168" indent="-201168" algn="l" rtl="0">
              <a:spcBef>
                <a:spcPts val="400"/>
              </a:spcBef>
            </a:pPr>
            <a:r>
              <a:rPr lang="es-es" sz="1000" b="0" i="0" u="none" spc="3" baseline="0">
                <a:latin typeface="+mj-lt"/>
                <a:cs typeface="Arial"/>
              </a:rPr>
              <a:t>Fabricación</a:t>
            </a:r>
            <a:r>
              <a:rPr lang="es-es" sz="1000" b="1" i="0" u="none" spc="18" baseline="0">
                <a:cs typeface="Arial"/>
              </a:rPr>
              <a:t> </a:t>
            </a:r>
          </a:p>
          <a:p>
            <a:pPr algn="l" rtl="0">
              <a:spcBef>
                <a:spcPts val="400"/>
              </a:spcBef>
            </a:pPr>
            <a:r>
              <a:rPr lang="es-es" sz="1000" b="0" i="0" u="none" spc="-3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Fabricación</a:t>
            </a:r>
            <a:r>
              <a:rPr lang="es-es" sz="1000" b="0" i="0" u="none" spc="-24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 </a:t>
            </a:r>
            <a:r>
              <a:rPr lang="es-es" sz="1000" b="0" i="0" u="none" spc="-9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limpia</a:t>
            </a:r>
            <a:r>
              <a:rPr lang="es-es" sz="1000" b="0" i="0" u="none" spc="15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(electrónica)</a:t>
            </a:r>
            <a:endParaRPr lang="es-es" sz="1000" dirty="0">
              <a:latin typeface="Roboto Medium" panose="02000000000000000000" pitchFamily="2" charset="0"/>
              <a:ea typeface="Roboto Medium" panose="02000000000000000000" pitchFamily="2" charset="0"/>
              <a:cs typeface="Arial"/>
            </a:endParaRP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Fabricación de componentes electrónicos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baseline="0">
                <a:cs typeface="Arial" panose="020B0604020202020204" pitchFamily="34" charset="0"/>
              </a:rPr>
              <a:t>Zona de montaje de la electrónica</a:t>
            </a:r>
          </a:p>
          <a:p>
            <a:pPr marL="201168" indent="-201168" algn="l" rtl="0">
              <a:spcBef>
                <a:spcPts val="400"/>
              </a:spcBef>
            </a:pPr>
            <a:r>
              <a:rPr lang="es-es" sz="1000" b="0" i="0" u="none" spc="-9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Fabricación</a:t>
            </a:r>
            <a:r>
              <a:rPr lang="es-es" sz="1000" b="0" i="0" u="none" spc="15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de automóviles</a:t>
            </a:r>
            <a:endParaRPr lang="es-es" sz="1000" dirty="0">
              <a:latin typeface="Roboto Medium" panose="02000000000000000000" pitchFamily="2" charset="0"/>
              <a:ea typeface="Roboto Medium" panose="02000000000000000000" pitchFamily="2" charset="0"/>
              <a:cs typeface="Arial"/>
            </a:endParaRP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spc="9" baseline="0">
                <a:cs typeface="Arial" panose="020B0604020202020204" pitchFamily="34" charset="0"/>
              </a:rPr>
              <a:t>Línea de</a:t>
            </a:r>
            <a:r>
              <a:rPr lang="es-es" sz="1000" b="0" i="0" u="none" spc="18" baseline="0">
                <a:cs typeface="Arial" panose="020B0604020202020204" pitchFamily="34" charset="0"/>
              </a:rPr>
              <a:t> </a:t>
            </a:r>
            <a:r>
              <a:rPr lang="es-es" sz="1000" b="0" i="0" u="none" spc="3" baseline="0">
                <a:cs typeface="Arial" panose="020B0604020202020204" pitchFamily="34" charset="0"/>
              </a:rPr>
              <a:t>montaje</a:t>
            </a:r>
            <a:endParaRPr lang="es-es" sz="1000" dirty="0">
              <a:cs typeface="Arial" panose="020B0604020202020204" pitchFamily="34" charset="0"/>
            </a:endParaRP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spc="9" baseline="0">
                <a:cs typeface="Arial" panose="020B0604020202020204" pitchFamily="34" charset="0"/>
              </a:rPr>
              <a:t>Zona</a:t>
            </a:r>
            <a:r>
              <a:rPr lang="es-es" sz="1000" b="0" i="0" u="none" spc="18" baseline="0">
                <a:cs typeface="Arial" panose="020B0604020202020204" pitchFamily="34" charset="0"/>
              </a:rPr>
              <a:t> </a:t>
            </a:r>
            <a:r>
              <a:rPr lang="es-es" sz="1000" b="0" i="0" u="none" spc="3" baseline="0">
                <a:cs typeface="Arial" panose="020B0604020202020204" pitchFamily="34" charset="0"/>
              </a:rPr>
              <a:t>de montaje</a:t>
            </a:r>
          </a:p>
          <a:p>
            <a:pPr marL="7701" marR="3081" algn="l" rtl="0">
              <a:lnSpc>
                <a:spcPct val="108500"/>
              </a:lnSpc>
              <a:spcBef>
                <a:spcPts val="400"/>
              </a:spcBef>
            </a:pPr>
            <a:r>
              <a:rPr lang="es-es" sz="1000" b="0" i="0" u="none" spc="15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Fabricación de </a:t>
            </a:r>
            <a:r>
              <a:rPr lang="es-es" sz="1000" b="0" i="0" u="none" spc="33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aserraderos </a:t>
            </a:r>
            <a:r>
              <a:rPr lang="es-es" sz="10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y muebles</a:t>
            </a:r>
            <a:endParaRPr lang="es-es" sz="1000" dirty="0">
              <a:latin typeface="Roboto Medium" panose="02000000000000000000" pitchFamily="2" charset="0"/>
              <a:ea typeface="Roboto Medium" panose="02000000000000000000" pitchFamily="2" charset="0"/>
              <a:cs typeface="Arial"/>
            </a:endParaRP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spc="9" baseline="0">
                <a:cs typeface="Arial" panose="020B0604020202020204" pitchFamily="34" charset="0"/>
              </a:rPr>
              <a:t>Maquinaria de producción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spc="9" baseline="0">
                <a:cs typeface="Arial" panose="020B0604020202020204" pitchFamily="34" charset="0"/>
              </a:rPr>
              <a:t>Área de producción</a:t>
            </a:r>
          </a:p>
          <a:p>
            <a:pPr marL="7701" marR="3081" algn="l" rtl="0">
              <a:lnSpc>
                <a:spcPct val="108500"/>
              </a:lnSpc>
              <a:spcBef>
                <a:spcPts val="400"/>
              </a:spcBef>
            </a:pPr>
            <a:r>
              <a:rPr lang="es-es" sz="1000" b="0" i="0" u="none" spc="6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Fábrica de cemento/producción de</a:t>
            </a:r>
            <a:r>
              <a:rPr lang="es-es" sz="10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 </a:t>
            </a:r>
            <a:r>
              <a:rPr lang="es-es" sz="1000" b="0" i="0" u="none" spc="15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materiales</a:t>
            </a:r>
            <a:r>
              <a:rPr lang="es-es" sz="1000" b="0" i="0" u="none" spc="3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 de</a:t>
            </a:r>
            <a:r>
              <a:rPr lang="es-es" sz="10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 construcción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spc="9" baseline="0">
                <a:cs typeface="Arial" panose="020B0604020202020204" pitchFamily="34" charset="0"/>
              </a:rPr>
              <a:t>Maquinaria de producción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spc="9" baseline="0">
                <a:cs typeface="Arial" panose="020B0604020202020204" pitchFamily="34" charset="0"/>
              </a:rPr>
              <a:t>Área de producción</a:t>
            </a:r>
          </a:p>
        </p:txBody>
      </p:sp>
      <p:sp>
        <p:nvSpPr>
          <p:cNvPr id="81" name="object 87">
            <a:extLst>
              <a:ext uri="{FF2B5EF4-FFF2-40B4-BE49-F238E27FC236}">
                <a16:creationId xmlns:a16="http://schemas.microsoft.com/office/drawing/2014/main" id="{78AB67F5-EDF5-158C-C5E3-3DAC0B1BD351}"/>
              </a:ext>
            </a:extLst>
          </p:cNvPr>
          <p:cNvSpPr txBox="1"/>
          <p:nvPr/>
        </p:nvSpPr>
        <p:spPr>
          <a:xfrm>
            <a:off x="9058863" y="2579729"/>
            <a:ext cx="2651760" cy="8771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square" lIns="685800" tIns="91440" rIns="91440" bIns="91440" rtlCol="0" anchor="ctr" anchorCtr="0">
            <a:spAutoFit/>
          </a:bodyPr>
          <a:lstStyle/>
          <a:p>
            <a:pPr marL="201168" indent="-201168" algn="l" rtl="0">
              <a:spcBef>
                <a:spcPts val="82"/>
              </a:spcBef>
            </a:pPr>
            <a:r>
              <a:rPr lang="es-es" sz="1000" b="0" i="0" u="none" spc="3" baseline="0">
                <a:latin typeface="+mj-lt"/>
                <a:cs typeface="Arial"/>
              </a:rPr>
              <a:t>Industria farmacéutica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spc="9" baseline="0">
                <a:cs typeface="Arial" panose="020B0604020202020204" pitchFamily="34" charset="0"/>
              </a:rPr>
              <a:t>Equipo de producción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spc="9" baseline="0">
                <a:cs typeface="Arial" panose="020B0604020202020204" pitchFamily="34" charset="0"/>
              </a:rPr>
              <a:t>Área de producción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spc="9" baseline="0">
                <a:cs typeface="Arial" panose="020B0604020202020204" pitchFamily="34" charset="0"/>
              </a:rPr>
              <a:t>Almacén de productos terminados</a:t>
            </a:r>
          </a:p>
        </p:txBody>
      </p:sp>
      <p:sp>
        <p:nvSpPr>
          <p:cNvPr id="82" name="object 87">
            <a:extLst>
              <a:ext uri="{FF2B5EF4-FFF2-40B4-BE49-F238E27FC236}">
                <a16:creationId xmlns:a16="http://schemas.microsoft.com/office/drawing/2014/main" id="{C6699DC8-3F3B-619A-3538-BA70CC45EE5E}"/>
              </a:ext>
            </a:extLst>
          </p:cNvPr>
          <p:cNvSpPr txBox="1"/>
          <p:nvPr/>
        </p:nvSpPr>
        <p:spPr>
          <a:xfrm>
            <a:off x="9058863" y="3584001"/>
            <a:ext cx="2651760" cy="25146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square" lIns="685800" tIns="91440" rIns="91440" bIns="91440" rtlCol="0" anchor="ctr" anchorCtr="0">
            <a:spAutoFit/>
          </a:bodyPr>
          <a:lstStyle/>
          <a:p>
            <a:pPr marL="201168" indent="-201168" algn="l" rtl="0">
              <a:spcBef>
                <a:spcPts val="82"/>
              </a:spcBef>
            </a:pPr>
            <a:r>
              <a:rPr lang="es-es" sz="1000" b="0" i="0" u="none" spc="3" baseline="0">
                <a:latin typeface="+mj-lt"/>
                <a:cs typeface="Arial"/>
              </a:rPr>
              <a:t>Hierro y metal</a:t>
            </a:r>
          </a:p>
          <a:p>
            <a:pPr marR="3081" algn="l" rtl="0">
              <a:spcBef>
                <a:spcPts val="400"/>
              </a:spcBef>
            </a:pPr>
            <a:r>
              <a:rPr lang="es-es" sz="1000" b="0" i="0" u="none" spc="6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Fundiciones/componentes mecánicos/producción de piezas metálicas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spc="9" baseline="0">
                <a:cs typeface="Arial" panose="020B0604020202020204" pitchFamily="34" charset="0"/>
              </a:rPr>
              <a:t>Limpieza general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spc="9" baseline="0">
                <a:cs typeface="Arial" panose="020B0604020202020204" pitchFamily="34" charset="0"/>
              </a:rPr>
              <a:t>Limpieza de equipos de producción</a:t>
            </a:r>
          </a:p>
          <a:p>
            <a:pPr marR="3081" algn="l" rtl="0">
              <a:spcBef>
                <a:spcPts val="400"/>
              </a:spcBef>
            </a:pPr>
            <a:r>
              <a:rPr lang="es-es" sz="1000" b="0" i="0" u="none" spc="6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Fabricación aditiva/piezas de aluminio y titanio/corte por láser/rectificado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spc="9" baseline="0">
                <a:cs typeface="Arial" panose="020B0604020202020204" pitchFamily="34" charset="0"/>
              </a:rPr>
              <a:t>Equipo de producción</a:t>
            </a:r>
          </a:p>
          <a:p>
            <a:pPr marR="3081" algn="l" rtl="0">
              <a:spcBef>
                <a:spcPts val="400"/>
              </a:spcBef>
            </a:pPr>
            <a:r>
              <a:rPr lang="es-es" sz="1000" b="0" i="0" u="none" spc="6" baseline="0">
                <a:latin typeface="Roboto Medium" panose="02000000000000000000" pitchFamily="2" charset="0"/>
                <a:ea typeface="Roboto Medium" panose="02000000000000000000" pitchFamily="2" charset="0"/>
                <a:cs typeface="Arial"/>
              </a:rPr>
              <a:t>Pintura/revestimiento</a:t>
            </a:r>
          </a:p>
          <a:p>
            <a:pPr marL="136800" indent="-136800" algn="l" rtl="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126300" algn="l"/>
              </a:tabLst>
            </a:pPr>
            <a:r>
              <a:rPr lang="es-es" sz="1000" b="0" i="0" u="none" spc="9" baseline="0">
                <a:cs typeface="Arial" panose="020B0604020202020204" pitchFamily="34" charset="0"/>
              </a:rPr>
              <a:t>Limpieza general</a:t>
            </a:r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BF28F23E-9BAD-3EFA-D5F4-9368EB3EF1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8023" y="3169893"/>
            <a:ext cx="402908" cy="454343"/>
          </a:xfrm>
          <a:prstGeom prst="rect">
            <a:avLst/>
          </a:prstGeom>
        </p:spPr>
      </p:pic>
      <p:pic>
        <p:nvPicPr>
          <p:cNvPr id="92" name="Graphic 91">
            <a:extLst>
              <a:ext uri="{FF2B5EF4-FFF2-40B4-BE49-F238E27FC236}">
                <a16:creationId xmlns:a16="http://schemas.microsoft.com/office/drawing/2014/main" id="{30844EBF-908E-ECFA-5C8E-41FA9496F4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6595" y="4184397"/>
            <a:ext cx="385763" cy="317183"/>
          </a:xfrm>
          <a:prstGeom prst="rect">
            <a:avLst/>
          </a:prstGeom>
        </p:spPr>
      </p:pic>
      <p:pic>
        <p:nvPicPr>
          <p:cNvPr id="94" name="Graphic 93">
            <a:extLst>
              <a:ext uri="{FF2B5EF4-FFF2-40B4-BE49-F238E27FC236}">
                <a16:creationId xmlns:a16="http://schemas.microsoft.com/office/drawing/2014/main" id="{0D013AFF-8651-9D7E-3321-FEA4DA480ED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09449" y="5186018"/>
            <a:ext cx="420053" cy="394335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00DADDBA-1FE0-6B10-F2D8-2D20EEB19D4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469822" y="1554903"/>
            <a:ext cx="377190" cy="317183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D106D1E9-DFFE-8E70-89D1-12A0EDB1E3A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473154" y="2358090"/>
            <a:ext cx="428625" cy="342900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FE83A923-1491-D268-670B-DF54667C701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503157" y="3539811"/>
            <a:ext cx="368618" cy="411480"/>
          </a:xfrm>
          <a:prstGeom prst="rect">
            <a:avLst/>
          </a:prstGeom>
        </p:spPr>
      </p:pic>
      <p:pic>
        <p:nvPicPr>
          <p:cNvPr id="104" name="Graphic 103">
            <a:extLst>
              <a:ext uri="{FF2B5EF4-FFF2-40B4-BE49-F238E27FC236}">
                <a16:creationId xmlns:a16="http://schemas.microsoft.com/office/drawing/2014/main" id="{1A517676-BA66-72D6-8579-4B3C6772B78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503157" y="4543469"/>
            <a:ext cx="407194" cy="235268"/>
          </a:xfrm>
          <a:prstGeom prst="rect">
            <a:avLst/>
          </a:prstGeom>
        </p:spPr>
      </p:pic>
      <p:pic>
        <p:nvPicPr>
          <p:cNvPr id="106" name="Graphic 105">
            <a:extLst>
              <a:ext uri="{FF2B5EF4-FFF2-40B4-BE49-F238E27FC236}">
                <a16:creationId xmlns:a16="http://schemas.microsoft.com/office/drawing/2014/main" id="{8B82A5E2-5FB8-04CA-EA2D-31996743D09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275184" y="1547982"/>
            <a:ext cx="540068" cy="265748"/>
          </a:xfrm>
          <a:prstGeom prst="rect">
            <a:avLst/>
          </a:prstGeom>
        </p:spPr>
      </p:pic>
      <p:pic>
        <p:nvPicPr>
          <p:cNvPr id="108" name="Graphic 107">
            <a:extLst>
              <a:ext uri="{FF2B5EF4-FFF2-40B4-BE49-F238E27FC236}">
                <a16:creationId xmlns:a16="http://schemas.microsoft.com/office/drawing/2014/main" id="{0E91F289-5B90-5AC0-3615-9793EBA0B7C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360909" y="2733871"/>
            <a:ext cx="368618" cy="342900"/>
          </a:xfrm>
          <a:prstGeom prst="rect">
            <a:avLst/>
          </a:prstGeom>
        </p:spPr>
      </p:pic>
      <p:pic>
        <p:nvPicPr>
          <p:cNvPr id="110" name="Graphic 109">
            <a:extLst>
              <a:ext uri="{FF2B5EF4-FFF2-40B4-BE49-F238E27FC236}">
                <a16:creationId xmlns:a16="http://schemas.microsoft.com/office/drawing/2014/main" id="{12FCEAE2-5F73-BAFB-83EA-F8A9462C3F6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9265566" y="1553037"/>
            <a:ext cx="282893" cy="420053"/>
          </a:xfrm>
          <a:prstGeom prst="rect">
            <a:avLst/>
          </a:prstGeom>
        </p:spPr>
      </p:pic>
      <p:pic>
        <p:nvPicPr>
          <p:cNvPr id="112" name="Graphic 111">
            <a:extLst>
              <a:ext uri="{FF2B5EF4-FFF2-40B4-BE49-F238E27FC236}">
                <a16:creationId xmlns:a16="http://schemas.microsoft.com/office/drawing/2014/main" id="{53C0386B-E5B6-5E5E-82BE-5AD95DA29FD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239848" y="2700990"/>
            <a:ext cx="334328" cy="385763"/>
          </a:xfrm>
          <a:prstGeom prst="rect">
            <a:avLst/>
          </a:prstGeom>
        </p:spPr>
      </p:pic>
      <p:pic>
        <p:nvPicPr>
          <p:cNvPr id="114" name="Graphic 113">
            <a:extLst>
              <a:ext uri="{FF2B5EF4-FFF2-40B4-BE49-F238E27FC236}">
                <a16:creationId xmlns:a16="http://schemas.microsoft.com/office/drawing/2014/main" id="{19DEC358-9781-E18A-88F0-0DE124ADC5D8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239848" y="3745551"/>
            <a:ext cx="385763" cy="437198"/>
          </a:xfrm>
          <a:prstGeom prst="rect">
            <a:avLst/>
          </a:prstGeom>
        </p:spPr>
      </p:pic>
      <p:pic>
        <p:nvPicPr>
          <p:cNvPr id="116" name="Graphic 115">
            <a:extLst>
              <a:ext uri="{FF2B5EF4-FFF2-40B4-BE49-F238E27FC236}">
                <a16:creationId xmlns:a16="http://schemas.microsoft.com/office/drawing/2014/main" id="{5801AE37-FF26-C03A-DA0C-D22900EA1A59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64037" y="2358090"/>
            <a:ext cx="497205" cy="471488"/>
          </a:xfrm>
          <a:prstGeom prst="rect">
            <a:avLst/>
          </a:prstGeom>
        </p:spPr>
      </p:pic>
      <p:pic>
        <p:nvPicPr>
          <p:cNvPr id="118" name="Graphic 117">
            <a:extLst>
              <a:ext uri="{FF2B5EF4-FFF2-40B4-BE49-F238E27FC236}">
                <a16:creationId xmlns:a16="http://schemas.microsoft.com/office/drawing/2014/main" id="{40B22CE3-7D26-06FD-EBED-928904811CB7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605165" y="1554903"/>
            <a:ext cx="428625" cy="334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56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S_SHAPE_LO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56df868-51cc-4d63-9bd1-3347174802f5" xsi:nil="true"/>
    <lcf76f155ced4ddcb4097134ff3c332f xmlns="6903b321-3545-4bfc-b111-7702843b6d40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ACC8E258210344A9FE922C0D29B270" ma:contentTypeVersion="16" ma:contentTypeDescription="Create a new document." ma:contentTypeScope="" ma:versionID="fd3e101f2f353f33feb8971ae4ec86b6">
  <xsd:schema xmlns:xsd="http://www.w3.org/2001/XMLSchema" xmlns:xs="http://www.w3.org/2001/XMLSchema" xmlns:p="http://schemas.microsoft.com/office/2006/metadata/properties" xmlns:ns2="6903b321-3545-4bfc-b111-7702843b6d40" xmlns:ns3="c56df868-51cc-4d63-9bd1-3347174802f5" targetNamespace="http://schemas.microsoft.com/office/2006/metadata/properties" ma:root="true" ma:fieldsID="bda11954bd90cc8fa027111a30383823" ns2:_="" ns3:_="">
    <xsd:import namespace="6903b321-3545-4bfc-b111-7702843b6d40"/>
    <xsd:import namespace="c56df868-51cc-4d63-9bd1-3347174802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03b321-3545-4bfc-b111-7702843b6d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6df868-51cc-4d63-9bd1-3347174802f5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7cfb0581-86ba-4f70-b3d8-e2806a0a35f0}" ma:internalName="TaxCatchAll" ma:showField="CatchAllData" ma:web="c56df868-51cc-4d63-9bd1-3347174802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35D97F-54F6-4139-90B1-4BC360E16E53}">
  <ds:schemaRefs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schemas.microsoft.com/office/2006/documentManagement/types"/>
    <ds:schemaRef ds:uri="101d09d1-2fba-4d93-a45c-1211151ee786"/>
    <ds:schemaRef ds:uri="http://purl.org/dc/elements/1.1/"/>
    <ds:schemaRef ds:uri="http://schemas.microsoft.com/office/infopath/2007/PartnerControls"/>
    <ds:schemaRef ds:uri="9a261087-ddb5-4fc3-ae00-ca27a6304815"/>
    <ds:schemaRef ds:uri="http://www.w3.org/XML/1998/namespace"/>
    <ds:schemaRef ds:uri="http://purl.org/dc/terms/"/>
    <ds:schemaRef ds:uri="c56df868-51cc-4d63-9bd1-3347174802f5"/>
    <ds:schemaRef ds:uri="6903b321-3545-4bfc-b111-7702843b6d40"/>
  </ds:schemaRefs>
</ds:datastoreItem>
</file>

<file path=customXml/itemProps2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159DFAB-5913-4191-AE0A-295B6994AE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03b321-3545-4bfc-b111-7702843b6d40"/>
    <ds:schemaRef ds:uri="c56df868-51cc-4d63-9bd1-3347174802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 07-03-2022</Template>
  <TotalTime>139</TotalTime>
  <Words>4221</Words>
  <Application>Microsoft Office PowerPoint</Application>
  <PresentationFormat>Panorámica</PresentationFormat>
  <Paragraphs>708</Paragraphs>
  <Slides>27</Slides>
  <Notes>16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7</vt:i4>
      </vt:variant>
    </vt:vector>
  </HeadingPairs>
  <TitlesOfParts>
    <vt:vector size="38" baseType="lpstr">
      <vt:lpstr>Arial</vt:lpstr>
      <vt:lpstr>Calibri</vt:lpstr>
      <vt:lpstr>Courier New</vt:lpstr>
      <vt:lpstr>Poppins</vt:lpstr>
      <vt:lpstr>Roboto</vt:lpstr>
      <vt:lpstr>Roboto Black</vt:lpstr>
      <vt:lpstr>Roboto Bold</vt:lpstr>
      <vt:lpstr>Roboto Light</vt:lpstr>
      <vt:lpstr>Roboto Medium</vt:lpstr>
      <vt:lpstr>Nilfisk Toolbox_Standard_4-3</vt:lpstr>
      <vt:lpstr>think-cell Slide</vt:lpstr>
      <vt:lpstr>Presentamos nuestra nueva gama AERO a batería Nilfisk AERO B</vt:lpstr>
      <vt:lpstr>Agenda</vt:lpstr>
      <vt:lpstr>Agenda</vt:lpstr>
      <vt:lpstr>1 | Contexto: AERO Battery</vt:lpstr>
      <vt:lpstr>1 | Contexto NBP - NBC215 </vt:lpstr>
      <vt:lpstr>1 | Antecedentes - Marca y diseño</vt:lpstr>
      <vt:lpstr>Presentación de PowerPoint</vt:lpstr>
      <vt:lpstr>Agenda</vt:lpstr>
      <vt:lpstr>2 | Segmentos de clientes</vt:lpstr>
      <vt:lpstr>2 | Segmento objetivo y aplicaciones clave</vt:lpstr>
      <vt:lpstr>Agenda</vt:lpstr>
      <vt:lpstr>3 | Nueva AERO Battery </vt:lpstr>
      <vt:lpstr>3 | Aspectos destacados del AERO B</vt:lpstr>
      <vt:lpstr>3 | Nuevo aspirador con batería</vt:lpstr>
      <vt:lpstr>3 | Nuevo aspirador con batería</vt:lpstr>
      <vt:lpstr>3 | Nuevo aspirador con batería</vt:lpstr>
      <vt:lpstr>Agenda</vt:lpstr>
      <vt:lpstr>4 | Características del AERO B</vt:lpstr>
      <vt:lpstr>4 | Características del AERO B</vt:lpstr>
      <vt:lpstr>4 | Características del AERO B</vt:lpstr>
      <vt:lpstr>4 | Características del AERO B</vt:lpstr>
      <vt:lpstr>4 | Características del AERO B</vt:lpstr>
      <vt:lpstr>Agenda</vt:lpstr>
      <vt:lpstr>5 | Nueva plataforma para la batería</vt:lpstr>
      <vt:lpstr>5 | Nueva plataforma para la batería</vt:lpstr>
      <vt:lpstr>5 | Nueva plataforma para la batería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Esben Graff</dc:creator>
  <cp:lastModifiedBy>Adrián Bora</cp:lastModifiedBy>
  <cp:revision>63</cp:revision>
  <dcterms:created xsi:type="dcterms:W3CDTF">2022-03-29T11:25:32Z</dcterms:created>
  <dcterms:modified xsi:type="dcterms:W3CDTF">2026-01-12T10:3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66ACC8E258210344A9FE922C0D29B270</vt:lpwstr>
  </property>
  <property fmtid="{D5CDD505-2E9C-101B-9397-08002B2CF9AE}" pid="6" name="MSIP_Label_c1c1fc1b-71f6-4e55-b88d-a4d9044b10bf_Enabled">
    <vt:lpwstr>true</vt:lpwstr>
  </property>
  <property fmtid="{D5CDD505-2E9C-101B-9397-08002B2CF9AE}" pid="7" name="MSIP_Label_c1c1fc1b-71f6-4e55-b88d-a4d9044b10bf_SetDate">
    <vt:lpwstr>2022-03-29T11:34:17Z</vt:lpwstr>
  </property>
  <property fmtid="{D5CDD505-2E9C-101B-9397-08002B2CF9AE}" pid="8" name="MSIP_Label_c1c1fc1b-71f6-4e55-b88d-a4d9044b10bf_Method">
    <vt:lpwstr>Privileged</vt:lpwstr>
  </property>
  <property fmtid="{D5CDD505-2E9C-101B-9397-08002B2CF9AE}" pid="9" name="MSIP_Label_c1c1fc1b-71f6-4e55-b88d-a4d9044b10bf_Name">
    <vt:lpwstr>Nilfisk secret</vt:lpwstr>
  </property>
  <property fmtid="{D5CDD505-2E9C-101B-9397-08002B2CF9AE}" pid="10" name="MSIP_Label_c1c1fc1b-71f6-4e55-b88d-a4d9044b10bf_SiteId">
    <vt:lpwstr>753c5d99-05be-4237-b4c5-fdb2e6b32ab2</vt:lpwstr>
  </property>
  <property fmtid="{D5CDD505-2E9C-101B-9397-08002B2CF9AE}" pid="11" name="MSIP_Label_c1c1fc1b-71f6-4e55-b88d-a4d9044b10bf_ActionId">
    <vt:lpwstr>5172cd7c-cf70-427c-9652-15fc36e67b62</vt:lpwstr>
  </property>
  <property fmtid="{D5CDD505-2E9C-101B-9397-08002B2CF9AE}" pid="12" name="MSIP_Label_c1c1fc1b-71f6-4e55-b88d-a4d9044b10bf_ContentBits">
    <vt:lpwstr>2</vt:lpwstr>
  </property>
  <property fmtid="{D5CDD505-2E9C-101B-9397-08002B2CF9AE}" pid="13" name="MediaServiceImageTags">
    <vt:lpwstr/>
  </property>
</Properties>
</file>